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1780" r:id="rId2"/>
    <p:sldId id="1781" r:id="rId3"/>
    <p:sldId id="1779" r:id="rId4"/>
    <p:sldId id="1784" r:id="rId5"/>
    <p:sldId id="1783" r:id="rId6"/>
    <p:sldId id="1777" r:id="rId7"/>
    <p:sldId id="1782" r:id="rId8"/>
    <p:sldId id="1736" r:id="rId9"/>
  </p:sldIdLst>
  <p:sldSz cx="8961438" cy="6721475"/>
  <p:notesSz cx="6797675" cy="9928225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6906" algn="l" rtl="0" fontAlgn="base">
      <a:spcBef>
        <a:spcPct val="0"/>
      </a:spcBef>
      <a:spcAft>
        <a:spcPct val="0"/>
      </a:spcAft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3818" algn="l" rtl="0" fontAlgn="base">
      <a:spcBef>
        <a:spcPct val="0"/>
      </a:spcBef>
      <a:spcAft>
        <a:spcPct val="0"/>
      </a:spcAft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729" algn="l" rtl="0" fontAlgn="base">
      <a:spcBef>
        <a:spcPct val="0"/>
      </a:spcBef>
      <a:spcAft>
        <a:spcPct val="0"/>
      </a:spcAft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637" algn="l" rtl="0" fontAlgn="base">
      <a:spcBef>
        <a:spcPct val="0"/>
      </a:spcBef>
      <a:spcAft>
        <a:spcPct val="0"/>
      </a:spcAft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4548" algn="l" defTabSz="913818" rtl="0" eaLnBrk="1" latinLnBrk="0" hangingPunct="1"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1454" algn="l" defTabSz="913818" rtl="0" eaLnBrk="1" latinLnBrk="0" hangingPunct="1"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198364" algn="l" defTabSz="913818" rtl="0" eaLnBrk="1" latinLnBrk="0" hangingPunct="1"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5276" algn="l" defTabSz="913818" rtl="0" eaLnBrk="1" latinLnBrk="0" hangingPunct="1"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C7E0FB"/>
    <a:srgbClr val="FE583C"/>
    <a:srgbClr val="33CC33"/>
    <a:srgbClr val="839FE7"/>
    <a:srgbClr val="1D4098"/>
    <a:srgbClr val="0055C8"/>
    <a:srgbClr val="333399"/>
    <a:srgbClr val="FB4747"/>
    <a:srgbClr val="255127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AF606853-7671-496A-8E4F-DF71F8EC918B}" styleName="Темный стиль 1 - акцент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snapVertSplitter="1" vertBarState="minimized" horzBarState="maximized">
    <p:restoredLeft sz="34587" autoAdjust="0"/>
    <p:restoredTop sz="86437" autoAdjust="0"/>
  </p:normalViewPr>
  <p:slideViewPr>
    <p:cSldViewPr snapToObjects="1">
      <p:cViewPr>
        <p:scale>
          <a:sx n="150" d="100"/>
          <a:sy n="150" d="100"/>
        </p:scale>
        <p:origin x="1182" y="42"/>
      </p:cViewPr>
      <p:guideLst>
        <p:guide orient="horz" pos="2117"/>
        <p:guide pos="2823"/>
      </p:guideLst>
    </p:cSldViewPr>
  </p:slideViewPr>
  <p:outlineViewPr>
    <p:cViewPr>
      <p:scale>
        <a:sx n="33" d="100"/>
        <a:sy n="33" d="100"/>
      </p:scale>
      <p:origin x="204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1" d="100"/>
          <a:sy n="81" d="100"/>
        </p:scale>
        <p:origin x="-4020" y="-90"/>
      </p:cViewPr>
      <p:guideLst>
        <p:guide orient="horz" pos="3128"/>
        <p:guide pos="214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N:\Departament\11\&#1054;&#1058;&#1063;&#1045;&#1058;&#1067;%20&#1087;&#1086;%20&#1050;&#1044;\&#1054;&#1090;&#1095;&#1077;&#1090;&#1099;%20&#1087;&#1086;%20&#1050;&#1044;%202022\&#1055;&#1088;&#1080;&#1083;&#1086;&#1078;&#1077;&#1085;&#1080;&#1077;%201%20&#1082;&#1086;&#1083;-&#1074;&#1086;%20&#1082;&#1076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lang="ru-RU" sz="1800" b="1" kern="1200" dirty="0">
                <a:solidFill>
                  <a:srgbClr val="1D4098"/>
                </a:solidFill>
                <a:latin typeface="Times New Roman" pitchFamily="18" charset="0"/>
                <a:ea typeface="Times New Roman"/>
                <a:cs typeface="Times New Roman" pitchFamily="18" charset="0"/>
              </a:defRPr>
            </a:pPr>
            <a:r>
              <a:rPr lang="ru-RU" sz="1800" b="1" kern="1200" dirty="0" smtClean="0">
                <a:solidFill>
                  <a:srgbClr val="1D4098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Динамика заключенных и действующих на территории Иркутской области коллективных договоров </a:t>
            </a:r>
          </a:p>
          <a:p>
            <a:pPr>
              <a:defRPr lang="ru-RU" sz="1800" b="1" kern="1200" dirty="0">
                <a:solidFill>
                  <a:srgbClr val="1D4098"/>
                </a:solidFill>
                <a:latin typeface="Times New Roman" pitchFamily="18" charset="0"/>
                <a:ea typeface="Times New Roman"/>
                <a:cs typeface="Times New Roman" pitchFamily="18" charset="0"/>
              </a:defRPr>
            </a:pPr>
            <a:r>
              <a:rPr lang="ru-RU" sz="1800" b="1" kern="1200" dirty="0" smtClean="0">
                <a:solidFill>
                  <a:srgbClr val="1D4098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за 2020 - 2022 годы (штук)</a:t>
            </a:r>
          </a:p>
          <a:p>
            <a:pPr>
              <a:defRPr lang="ru-RU" sz="1800" b="1" kern="1200" dirty="0">
                <a:solidFill>
                  <a:srgbClr val="1D4098"/>
                </a:solidFill>
                <a:latin typeface="Times New Roman" pitchFamily="18" charset="0"/>
                <a:ea typeface="Times New Roman"/>
                <a:cs typeface="Times New Roman" pitchFamily="18" charset="0"/>
              </a:defRPr>
            </a:pPr>
            <a:endParaRPr lang="ru-RU" sz="1800" b="1" kern="1200" dirty="0">
              <a:solidFill>
                <a:srgbClr val="1D4098"/>
              </a:solidFill>
              <a:latin typeface="Times New Roman" pitchFamily="18" charset="0"/>
              <a:ea typeface="Times New Roman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13380737563017758"/>
          <c:y val="2.9439069059667842E-2"/>
        </c:manualLayout>
      </c:layout>
    </c:title>
    <c:plotArea>
      <c:layout>
        <c:manualLayout>
          <c:layoutTarget val="inner"/>
          <c:xMode val="edge"/>
          <c:yMode val="edge"/>
          <c:x val="5.2923588207663901E-2"/>
          <c:y val="0.28205049121650888"/>
          <c:w val="0.85111854644984364"/>
          <c:h val="0.62372908464572441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 заключено колл.договоров</c:v>
                </c:pt>
              </c:strCache>
            </c:strRef>
          </c:tx>
          <c:spPr>
            <a:solidFill>
              <a:srgbClr val="0070C0"/>
            </a:solidFill>
          </c:spPr>
          <c:dLbls>
            <c:dLbl>
              <c:idx val="3"/>
              <c:layout>
                <c:manualLayout>
                  <c:x val="-1.6330490027857028E-3"/>
                  <c:y val="1.9020659594439372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3183</a:t>
                    </a:r>
                  </a:p>
                  <a:p>
                    <a:endParaRPr lang="en-US" dirty="0"/>
                  </a:p>
                </c:rich>
              </c:tx>
              <c:showVal val="1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/>
                      <a:t>317</a:t>
                    </a:r>
                    <a:r>
                      <a:rPr lang="ru-RU"/>
                      <a:t>7</a:t>
                    </a:r>
                    <a:endParaRPr lang="en-US"/>
                  </a:p>
                </c:rich>
              </c:tx>
              <c:showVal val="1"/>
            </c:dLbl>
            <c:txPr>
              <a:bodyPr/>
              <a:lstStyle/>
              <a:p>
                <a:pPr algn="just">
                  <a:defRPr sz="10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A$2:$A$13</c:f>
              <c:numCache>
                <c:formatCode>dd/mm/yyyy</c:formatCode>
                <c:ptCount val="12"/>
                <c:pt idx="0">
                  <c:v>43831</c:v>
                </c:pt>
                <c:pt idx="1">
                  <c:v>43922</c:v>
                </c:pt>
                <c:pt idx="2">
                  <c:v>44013</c:v>
                </c:pt>
                <c:pt idx="3">
                  <c:v>44105</c:v>
                </c:pt>
                <c:pt idx="4">
                  <c:v>44197</c:v>
                </c:pt>
                <c:pt idx="5">
                  <c:v>44287</c:v>
                </c:pt>
                <c:pt idx="6">
                  <c:v>44378</c:v>
                </c:pt>
                <c:pt idx="7">
                  <c:v>44470</c:v>
                </c:pt>
                <c:pt idx="8">
                  <c:v>44562</c:v>
                </c:pt>
                <c:pt idx="9">
                  <c:v>44652</c:v>
                </c:pt>
                <c:pt idx="10">
                  <c:v>44743</c:v>
                </c:pt>
                <c:pt idx="11">
                  <c:v>44835</c:v>
                </c:pt>
              </c:numCache>
            </c:numRef>
          </c:cat>
          <c:val>
            <c:numRef>
              <c:f>Лист1!$B$2:$B$13</c:f>
              <c:numCache>
                <c:formatCode>General</c:formatCode>
                <c:ptCount val="12"/>
                <c:pt idx="0">
                  <c:v>3272</c:v>
                </c:pt>
                <c:pt idx="1">
                  <c:v>3254</c:v>
                </c:pt>
                <c:pt idx="2">
                  <c:v>3228</c:v>
                </c:pt>
                <c:pt idx="3">
                  <c:v>3183</c:v>
                </c:pt>
                <c:pt idx="4">
                  <c:v>3177</c:v>
                </c:pt>
                <c:pt idx="5">
                  <c:v>3154</c:v>
                </c:pt>
                <c:pt idx="6">
                  <c:v>3157</c:v>
                </c:pt>
                <c:pt idx="7">
                  <c:v>3192</c:v>
                </c:pt>
                <c:pt idx="8">
                  <c:v>3160</c:v>
                </c:pt>
                <c:pt idx="9">
                  <c:v>3138</c:v>
                </c:pt>
                <c:pt idx="10">
                  <c:v>3144</c:v>
                </c:pt>
                <c:pt idx="11">
                  <c:v>3163</c:v>
                </c:pt>
              </c:numCache>
            </c:numRef>
          </c:val>
        </c:ser>
        <c:axId val="97329536"/>
        <c:axId val="97331072"/>
      </c:barChart>
      <c:catAx>
        <c:axId val="97329536"/>
        <c:scaling>
          <c:orientation val="minMax"/>
        </c:scaling>
        <c:axPos val="b"/>
        <c:numFmt formatCode="dd/mm/yyyy" sourceLinked="0"/>
        <c:tickLblPos val="nextTo"/>
        <c:txPr>
          <a:bodyPr/>
          <a:lstStyle/>
          <a:p>
            <a:pPr>
              <a:defRPr sz="65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97331072"/>
        <c:crosses val="autoZero"/>
        <c:lblAlgn val="ctr"/>
        <c:lblOffset val="100"/>
      </c:catAx>
      <c:valAx>
        <c:axId val="97331072"/>
        <c:scaling>
          <c:orientation val="minMax"/>
          <c:max val="3600"/>
          <c:min val="2800"/>
        </c:scaling>
        <c:axPos val="l"/>
        <c:numFmt formatCode="General" sourceLinked="1"/>
        <c:tickLblPos val="nextTo"/>
        <c:txPr>
          <a:bodyPr/>
          <a:lstStyle/>
          <a:p>
            <a:pPr>
              <a:defRPr sz="8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97329536"/>
        <c:crosses val="autoZero"/>
        <c:crossBetween val="between"/>
        <c:majorUnit val="200"/>
      </c:valAx>
      <c:spPr>
        <a:noFill/>
        <a:ln>
          <a:noFill/>
        </a:ln>
        <a:scene3d>
          <a:camera prst="orthographicFront"/>
          <a:lightRig rig="threePt" dir="t"/>
        </a:scene3d>
        <a:sp3d>
          <a:bevelT/>
        </a:sp3d>
      </c:spPr>
    </c:plotArea>
    <c:plotVisOnly val="1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600" baseline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defRPr>
            </a:pPr>
            <a:r>
              <a:rPr lang="ru-RU" sz="1600" baseline="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ля </a:t>
            </a:r>
            <a:r>
              <a:rPr lang="ru-RU" sz="1600" baseline="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ботников, охваченных действием коллективных </a:t>
            </a:r>
            <a:r>
              <a:rPr lang="ru-RU" sz="1600" baseline="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говоров за период 2019 - 2022 гг. (%) </a:t>
            </a:r>
            <a:endParaRPr lang="ru-RU" sz="1600" baseline="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11398753635408998"/>
          <c:y val="3.9750963517449042E-2"/>
        </c:manualLayout>
      </c:layout>
    </c:title>
    <c:plotArea>
      <c:layout>
        <c:manualLayout>
          <c:layoutTarget val="inner"/>
          <c:xMode val="edge"/>
          <c:yMode val="edge"/>
          <c:x val="8.4529419390250035E-2"/>
          <c:y val="0.24639932101531203"/>
          <c:w val="0.85172566262735638"/>
          <c:h val="0.60523842105599712"/>
        </c:manualLayout>
      </c:layout>
      <c:lineChart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 работников, охваченных действием коллективных договоров</c:v>
                </c:pt>
              </c:strCache>
            </c:strRef>
          </c:tx>
          <c:marker>
            <c:spPr>
              <a:solidFill>
                <a:schemeClr val="tx2">
                  <a:lumMod val="75000"/>
                </a:schemeClr>
              </a:solidFill>
            </c:spPr>
          </c:marker>
          <c:dLbls>
            <c:dLbl>
              <c:idx val="0"/>
              <c:layout>
                <c:manualLayout>
                  <c:x val="-3.8461538461538464E-2"/>
                  <c:y val="-4.4989775051124774E-2"/>
                </c:manualLayout>
              </c:layout>
              <c:showVal val="1"/>
            </c:dLbl>
            <c:dLbl>
              <c:idx val="1"/>
              <c:layout>
                <c:manualLayout>
                  <c:x val="-3.2051282051282055E-2"/>
                  <c:y val="-5.7259713701431493E-2"/>
                </c:manualLayout>
              </c:layout>
              <c:showVal val="1"/>
            </c:dLbl>
            <c:dLbl>
              <c:idx val="2"/>
              <c:layout>
                <c:manualLayout>
                  <c:x val="-3.8405848307423406E-2"/>
                  <c:y val="-5.6107112377823905E-2"/>
                </c:manualLayout>
              </c:layout>
              <c:showVal val="1"/>
            </c:dLbl>
            <c:dLbl>
              <c:idx val="3"/>
              <c:layout>
                <c:manualLayout>
                  <c:x val="-2.557429736128294E-2"/>
                  <c:y val="-6.1671234422036814E-2"/>
                </c:manualLayout>
              </c:layout>
              <c:showVal val="1"/>
            </c:dLbl>
            <c:dLbl>
              <c:idx val="4"/>
              <c:layout>
                <c:manualLayout>
                  <c:x val="-2.557429736128294E-2"/>
                  <c:y val="-6.1671234422036814E-2"/>
                </c:manualLayout>
              </c:layout>
              <c:showVal val="1"/>
            </c:dLbl>
            <c:dLbl>
              <c:idx val="5"/>
              <c:layout>
                <c:manualLayout>
                  <c:x val="-3.8422673127397534E-2"/>
                  <c:y val="-4.5477674186432504E-2"/>
                </c:manualLayout>
              </c:layout>
              <c:showVal val="1"/>
            </c:dLbl>
            <c:dLbl>
              <c:idx val="6"/>
              <c:layout>
                <c:manualLayout>
                  <c:x val="-3.8361446041924395E-2"/>
                  <c:y val="-5.6927293312649313E-2"/>
                </c:manualLayout>
              </c:layout>
              <c:showVal val="1"/>
            </c:dLbl>
            <c:dLbl>
              <c:idx val="7"/>
              <c:layout>
                <c:manualLayout>
                  <c:x val="-1.2828736369467821E-2"/>
                  <c:y val="-5.6593483625424504E-2"/>
                </c:manualLayout>
              </c:layout>
              <c:showVal val="1"/>
            </c:dLbl>
            <c:dLbl>
              <c:idx val="8"/>
              <c:layout>
                <c:manualLayout>
                  <c:x val="-2.0432229625143232E-2"/>
                  <c:y val="-6.0363589520635502E-2"/>
                </c:manualLayout>
              </c:layout>
              <c:showVal val="1"/>
            </c:dLbl>
            <c:dLbl>
              <c:idx val="9"/>
              <c:layout>
                <c:manualLayout>
                  <c:x val="-3.4254155730533684E-2"/>
                  <c:y val="-5.5004428127465713E-2"/>
                </c:manualLayout>
              </c:layout>
              <c:showVal val="1"/>
            </c:dLbl>
            <c:dLbl>
              <c:idx val="10"/>
              <c:layout>
                <c:manualLayout>
                  <c:x val="-4.2735042735042736E-2"/>
                  <c:y val="-5.7259713701431493E-2"/>
                </c:manualLayout>
              </c:layout>
              <c:showVal val="1"/>
            </c:dLbl>
            <c:dLbl>
              <c:idx val="11"/>
              <c:layout>
                <c:manualLayout>
                  <c:x val="-3.8461538461538464E-2"/>
                  <c:y val="-5.7259713701431493E-2"/>
                </c:manualLayout>
              </c:layout>
              <c:showVal val="1"/>
            </c:dLbl>
            <c:dLbl>
              <c:idx val="12"/>
              <c:layout>
                <c:manualLayout>
                  <c:x val="-2.5657472738935216E-2"/>
                  <c:y val="-5.2240138731161075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aseline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13</c:f>
              <c:strCache>
                <c:ptCount val="12"/>
                <c:pt idx="0">
                  <c:v>01.01.2020</c:v>
                </c:pt>
                <c:pt idx="1">
                  <c:v>01.04.2020</c:v>
                </c:pt>
                <c:pt idx="2">
                  <c:v>01.07.2020</c:v>
                </c:pt>
                <c:pt idx="3">
                  <c:v>01.10.2020</c:v>
                </c:pt>
                <c:pt idx="4">
                  <c:v>01.01.2021г.</c:v>
                </c:pt>
                <c:pt idx="5">
                  <c:v>01.04.2021</c:v>
                </c:pt>
                <c:pt idx="6">
                  <c:v>01.07.2021</c:v>
                </c:pt>
                <c:pt idx="7">
                  <c:v>01.10.2021</c:v>
                </c:pt>
                <c:pt idx="8">
                  <c:v>01.01.2022</c:v>
                </c:pt>
                <c:pt idx="9">
                  <c:v>01.04.2022</c:v>
                </c:pt>
                <c:pt idx="10">
                  <c:v>01.07.2022</c:v>
                </c:pt>
                <c:pt idx="11">
                  <c:v>01.10.2022</c:v>
                </c:pt>
              </c:strCache>
            </c:strRef>
          </c:cat>
          <c:val>
            <c:numRef>
              <c:f>Лист1!$B$2:$B$13</c:f>
              <c:numCache>
                <c:formatCode>General</c:formatCode>
                <c:ptCount val="12"/>
                <c:pt idx="0">
                  <c:v>56.8</c:v>
                </c:pt>
                <c:pt idx="1">
                  <c:v>55.7</c:v>
                </c:pt>
                <c:pt idx="2" formatCode="0.0">
                  <c:v>55.5</c:v>
                </c:pt>
                <c:pt idx="3">
                  <c:v>55.6</c:v>
                </c:pt>
                <c:pt idx="4">
                  <c:v>54</c:v>
                </c:pt>
                <c:pt idx="5">
                  <c:v>53</c:v>
                </c:pt>
                <c:pt idx="6">
                  <c:v>53.6</c:v>
                </c:pt>
                <c:pt idx="7">
                  <c:v>54.4</c:v>
                </c:pt>
                <c:pt idx="8">
                  <c:v>54.4</c:v>
                </c:pt>
                <c:pt idx="9">
                  <c:v>53.6</c:v>
                </c:pt>
                <c:pt idx="10">
                  <c:v>53.9</c:v>
                </c:pt>
                <c:pt idx="11">
                  <c:v>54.1</c:v>
                </c:pt>
              </c:numCache>
            </c:numRef>
          </c:val>
        </c:ser>
        <c:marker val="1"/>
        <c:axId val="97449856"/>
        <c:axId val="97451392"/>
      </c:lineChart>
      <c:dateAx>
        <c:axId val="97449856"/>
        <c:scaling>
          <c:orientation val="minMax"/>
        </c:scaling>
        <c:axPos val="b"/>
        <c:numFmt formatCode="dd/mm/yyyy" sourceLinked="1"/>
        <c:tickLblPos val="nextTo"/>
        <c:txPr>
          <a:bodyPr/>
          <a:lstStyle/>
          <a:p>
            <a:pPr>
              <a:defRPr sz="700" b="1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97451392"/>
        <c:crosses val="autoZero"/>
        <c:lblOffset val="100"/>
        <c:baseTimeUnit val="days"/>
      </c:dateAx>
      <c:valAx>
        <c:axId val="97451392"/>
        <c:scaling>
          <c:orientation val="minMax"/>
          <c:max val="60"/>
          <c:min val="50"/>
        </c:scaling>
        <c:axPos val="l"/>
        <c:numFmt formatCode="General" sourceLinked="1"/>
        <c:tickLblPos val="nextTo"/>
        <c:spPr>
          <a:ln>
            <a:gradFill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</a:ln>
        </c:spPr>
        <c:txPr>
          <a:bodyPr/>
          <a:lstStyle/>
          <a:p>
            <a:pPr>
              <a:defRPr sz="8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97449856"/>
        <c:crosses val="autoZero"/>
        <c:crossBetween val="between"/>
        <c:majorUnit val="2"/>
        <c:minorUnit val="0.2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9944139439273101"/>
          <c:y val="0.19849710194059791"/>
          <c:w val="0.28578064207657178"/>
          <c:h val="0.21690009621920694"/>
        </c:manualLayout>
      </c:layout>
      <c:txPr>
        <a:bodyPr/>
        <a:lstStyle/>
        <a:p>
          <a:pPr>
            <a:defRPr sz="120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barChart>
        <c:barDir val="col"/>
        <c:grouping val="clustered"/>
        <c:ser>
          <c:idx val="0"/>
          <c:order val="0"/>
          <c:cat>
            <c:strRef>
              <c:f>'01.10.2022'!$B$3:$B$44</c:f>
              <c:strCache>
                <c:ptCount val="42"/>
                <c:pt idx="0">
                  <c:v>Тулунский р-н</c:v>
                </c:pt>
                <c:pt idx="1">
                  <c:v>г. Саянск</c:v>
                </c:pt>
                <c:pt idx="2">
                  <c:v>Зиминский р-н</c:v>
                </c:pt>
                <c:pt idx="3">
                  <c:v>Боханский р-н</c:v>
                </c:pt>
                <c:pt idx="4">
                  <c:v>Осинский р-н</c:v>
                </c:pt>
                <c:pt idx="5">
                  <c:v>г. Зима</c:v>
                </c:pt>
                <c:pt idx="6">
                  <c:v>г. Черемхово</c:v>
                </c:pt>
                <c:pt idx="7">
                  <c:v>Черемховский р-н </c:v>
                </c:pt>
                <c:pt idx="8">
                  <c:v>г.Свирск</c:v>
                </c:pt>
                <c:pt idx="9">
                  <c:v>Нукутский р-н</c:v>
                </c:pt>
                <c:pt idx="10">
                  <c:v>Заларинский р-н</c:v>
                </c:pt>
                <c:pt idx="11">
                  <c:v>г. Усть-Кут</c:v>
                </c:pt>
                <c:pt idx="12">
                  <c:v>Братский р-н</c:v>
                </c:pt>
                <c:pt idx="13">
                  <c:v>Баяндаевский р-н</c:v>
                </c:pt>
                <c:pt idx="14">
                  <c:v>Балаганский р-н</c:v>
                </c:pt>
                <c:pt idx="15">
                  <c:v>Аларский р-н</c:v>
                </c:pt>
                <c:pt idx="16">
                  <c:v>Мамско-Чуйский р-н</c:v>
                </c:pt>
                <c:pt idx="17">
                  <c:v>г. Усолье-Сибирское</c:v>
                </c:pt>
                <c:pt idx="18">
                  <c:v>Нижнеудинский р-н</c:v>
                </c:pt>
                <c:pt idx="19">
                  <c:v>Казачин.-Ленский р-н</c:v>
                </c:pt>
                <c:pt idx="20">
                  <c:v>Жигаловский р-н</c:v>
                </c:pt>
                <c:pt idx="21">
                  <c:v>Тайшетский р-н</c:v>
                </c:pt>
                <c:pt idx="22">
                  <c:v>Нижнеилимский р-н</c:v>
                </c:pt>
                <c:pt idx="23">
                  <c:v>Усольский р-н</c:v>
                </c:pt>
                <c:pt idx="24">
                  <c:v>г. Ангарск</c:v>
                </c:pt>
                <c:pt idx="25">
                  <c:v>г. Иркутск</c:v>
                </c:pt>
                <c:pt idx="26">
                  <c:v>Шелеховский р-н</c:v>
                </c:pt>
                <c:pt idx="27">
                  <c:v>г. Усть-Илимск</c:v>
                </c:pt>
                <c:pt idx="28">
                  <c:v>Качугский р-н</c:v>
                </c:pt>
                <c:pt idx="29">
                  <c:v>Эхирит-Булагатский </c:v>
                </c:pt>
                <c:pt idx="30">
                  <c:v>Иркутский р-н</c:v>
                </c:pt>
                <c:pt idx="31">
                  <c:v>г. Братск</c:v>
                </c:pt>
                <c:pt idx="32">
                  <c:v>г. Тулун</c:v>
                </c:pt>
                <c:pt idx="33">
                  <c:v>г. Бодайбо</c:v>
                </c:pt>
                <c:pt idx="34">
                  <c:v>Чунский р-н</c:v>
                </c:pt>
                <c:pt idx="35">
                  <c:v>Усть-Илимский р-н</c:v>
                </c:pt>
                <c:pt idx="36">
                  <c:v>Катангский р-н</c:v>
                </c:pt>
                <c:pt idx="37">
                  <c:v>Куйтунский р-н</c:v>
                </c:pt>
                <c:pt idx="38">
                  <c:v>Слюдянский р-н</c:v>
                </c:pt>
                <c:pt idx="39">
                  <c:v>Ольхонский р-н</c:v>
                </c:pt>
                <c:pt idx="40">
                  <c:v>Киренский р-н</c:v>
                </c:pt>
                <c:pt idx="41">
                  <c:v>Усть-Удинский р-н</c:v>
                </c:pt>
              </c:strCache>
            </c:strRef>
          </c:cat>
          <c:val>
            <c:numRef>
              <c:f>'01.10.2022'!$C$3:$C$44</c:f>
            </c:numRef>
          </c:val>
        </c:ser>
        <c:ser>
          <c:idx val="1"/>
          <c:order val="1"/>
          <c:cat>
            <c:strRef>
              <c:f>'01.10.2022'!$B$3:$B$44</c:f>
              <c:strCache>
                <c:ptCount val="42"/>
                <c:pt idx="0">
                  <c:v>Тулунский р-н</c:v>
                </c:pt>
                <c:pt idx="1">
                  <c:v>г. Саянск</c:v>
                </c:pt>
                <c:pt idx="2">
                  <c:v>Зиминский р-н</c:v>
                </c:pt>
                <c:pt idx="3">
                  <c:v>Боханский р-н</c:v>
                </c:pt>
                <c:pt idx="4">
                  <c:v>Осинский р-н</c:v>
                </c:pt>
                <c:pt idx="5">
                  <c:v>г. Зима</c:v>
                </c:pt>
                <c:pt idx="6">
                  <c:v>г. Черемхово</c:v>
                </c:pt>
                <c:pt idx="7">
                  <c:v>Черемховский р-н </c:v>
                </c:pt>
                <c:pt idx="8">
                  <c:v>г.Свирск</c:v>
                </c:pt>
                <c:pt idx="9">
                  <c:v>Нукутский р-н</c:v>
                </c:pt>
                <c:pt idx="10">
                  <c:v>Заларинский р-н</c:v>
                </c:pt>
                <c:pt idx="11">
                  <c:v>г. Усть-Кут</c:v>
                </c:pt>
                <c:pt idx="12">
                  <c:v>Братский р-н</c:v>
                </c:pt>
                <c:pt idx="13">
                  <c:v>Баяндаевский р-н</c:v>
                </c:pt>
                <c:pt idx="14">
                  <c:v>Балаганский р-н</c:v>
                </c:pt>
                <c:pt idx="15">
                  <c:v>Аларский р-н</c:v>
                </c:pt>
                <c:pt idx="16">
                  <c:v>Мамско-Чуйский р-н</c:v>
                </c:pt>
                <c:pt idx="17">
                  <c:v>г. Усолье-Сибирское</c:v>
                </c:pt>
                <c:pt idx="18">
                  <c:v>Нижнеудинский р-н</c:v>
                </c:pt>
                <c:pt idx="19">
                  <c:v>Казачин.-Ленский р-н</c:v>
                </c:pt>
                <c:pt idx="20">
                  <c:v>Жигаловский р-н</c:v>
                </c:pt>
                <c:pt idx="21">
                  <c:v>Тайшетский р-н</c:v>
                </c:pt>
                <c:pt idx="22">
                  <c:v>Нижнеилимский р-н</c:v>
                </c:pt>
                <c:pt idx="23">
                  <c:v>Усольский р-н</c:v>
                </c:pt>
                <c:pt idx="24">
                  <c:v>г. Ангарск</c:v>
                </c:pt>
                <c:pt idx="25">
                  <c:v>г. Иркутск</c:v>
                </c:pt>
                <c:pt idx="26">
                  <c:v>Шелеховский р-н</c:v>
                </c:pt>
                <c:pt idx="27">
                  <c:v>г. Усть-Илимск</c:v>
                </c:pt>
                <c:pt idx="28">
                  <c:v>Качугский р-н</c:v>
                </c:pt>
                <c:pt idx="29">
                  <c:v>Эхирит-Булагатский </c:v>
                </c:pt>
                <c:pt idx="30">
                  <c:v>Иркутский р-н</c:v>
                </c:pt>
                <c:pt idx="31">
                  <c:v>г. Братск</c:v>
                </c:pt>
                <c:pt idx="32">
                  <c:v>г. Тулун</c:v>
                </c:pt>
                <c:pt idx="33">
                  <c:v>г. Бодайбо</c:v>
                </c:pt>
                <c:pt idx="34">
                  <c:v>Чунский р-н</c:v>
                </c:pt>
                <c:pt idx="35">
                  <c:v>Усть-Илимский р-н</c:v>
                </c:pt>
                <c:pt idx="36">
                  <c:v>Катангский р-н</c:v>
                </c:pt>
                <c:pt idx="37">
                  <c:v>Куйтунский р-н</c:v>
                </c:pt>
                <c:pt idx="38">
                  <c:v>Слюдянский р-н</c:v>
                </c:pt>
                <c:pt idx="39">
                  <c:v>Ольхонский р-н</c:v>
                </c:pt>
                <c:pt idx="40">
                  <c:v>Киренский р-н</c:v>
                </c:pt>
                <c:pt idx="41">
                  <c:v>Усть-Удинский р-н</c:v>
                </c:pt>
              </c:strCache>
            </c:strRef>
          </c:cat>
          <c:val>
            <c:numRef>
              <c:f>'01.10.2022'!$D$3:$D$44</c:f>
            </c:numRef>
          </c:val>
        </c:ser>
        <c:ser>
          <c:idx val="2"/>
          <c:order val="2"/>
          <c:cat>
            <c:strRef>
              <c:f>'01.10.2022'!$B$3:$B$44</c:f>
              <c:strCache>
                <c:ptCount val="42"/>
                <c:pt idx="0">
                  <c:v>Тулунский р-н</c:v>
                </c:pt>
                <c:pt idx="1">
                  <c:v>г. Саянск</c:v>
                </c:pt>
                <c:pt idx="2">
                  <c:v>Зиминский р-н</c:v>
                </c:pt>
                <c:pt idx="3">
                  <c:v>Боханский р-н</c:v>
                </c:pt>
                <c:pt idx="4">
                  <c:v>Осинский р-н</c:v>
                </c:pt>
                <c:pt idx="5">
                  <c:v>г. Зима</c:v>
                </c:pt>
                <c:pt idx="6">
                  <c:v>г. Черемхово</c:v>
                </c:pt>
                <c:pt idx="7">
                  <c:v>Черемховский р-н </c:v>
                </c:pt>
                <c:pt idx="8">
                  <c:v>г.Свирск</c:v>
                </c:pt>
                <c:pt idx="9">
                  <c:v>Нукутский р-н</c:v>
                </c:pt>
                <c:pt idx="10">
                  <c:v>Заларинский р-н</c:v>
                </c:pt>
                <c:pt idx="11">
                  <c:v>г. Усть-Кут</c:v>
                </c:pt>
                <c:pt idx="12">
                  <c:v>Братский р-н</c:v>
                </c:pt>
                <c:pt idx="13">
                  <c:v>Баяндаевский р-н</c:v>
                </c:pt>
                <c:pt idx="14">
                  <c:v>Балаганский р-н</c:v>
                </c:pt>
                <c:pt idx="15">
                  <c:v>Аларский р-н</c:v>
                </c:pt>
                <c:pt idx="16">
                  <c:v>Мамско-Чуйский р-н</c:v>
                </c:pt>
                <c:pt idx="17">
                  <c:v>г. Усолье-Сибирское</c:v>
                </c:pt>
                <c:pt idx="18">
                  <c:v>Нижнеудинский р-н</c:v>
                </c:pt>
                <c:pt idx="19">
                  <c:v>Казачин.-Ленский р-н</c:v>
                </c:pt>
                <c:pt idx="20">
                  <c:v>Жигаловский р-н</c:v>
                </c:pt>
                <c:pt idx="21">
                  <c:v>Тайшетский р-н</c:v>
                </c:pt>
                <c:pt idx="22">
                  <c:v>Нижнеилимский р-н</c:v>
                </c:pt>
                <c:pt idx="23">
                  <c:v>Усольский р-н</c:v>
                </c:pt>
                <c:pt idx="24">
                  <c:v>г. Ангарск</c:v>
                </c:pt>
                <c:pt idx="25">
                  <c:v>г. Иркутск</c:v>
                </c:pt>
                <c:pt idx="26">
                  <c:v>Шелеховский р-н</c:v>
                </c:pt>
                <c:pt idx="27">
                  <c:v>г. Усть-Илимск</c:v>
                </c:pt>
                <c:pt idx="28">
                  <c:v>Качугский р-н</c:v>
                </c:pt>
                <c:pt idx="29">
                  <c:v>Эхирит-Булагатский </c:v>
                </c:pt>
                <c:pt idx="30">
                  <c:v>Иркутский р-н</c:v>
                </c:pt>
                <c:pt idx="31">
                  <c:v>г. Братск</c:v>
                </c:pt>
                <c:pt idx="32">
                  <c:v>г. Тулун</c:v>
                </c:pt>
                <c:pt idx="33">
                  <c:v>г. Бодайбо</c:v>
                </c:pt>
                <c:pt idx="34">
                  <c:v>Чунский р-н</c:v>
                </c:pt>
                <c:pt idx="35">
                  <c:v>Усть-Илимский р-н</c:v>
                </c:pt>
                <c:pt idx="36">
                  <c:v>Катангский р-н</c:v>
                </c:pt>
                <c:pt idx="37">
                  <c:v>Куйтунский р-н</c:v>
                </c:pt>
                <c:pt idx="38">
                  <c:v>Слюдянский р-н</c:v>
                </c:pt>
                <c:pt idx="39">
                  <c:v>Ольхонский р-н</c:v>
                </c:pt>
                <c:pt idx="40">
                  <c:v>Киренский р-н</c:v>
                </c:pt>
                <c:pt idx="41">
                  <c:v>Усть-Удинский р-н</c:v>
                </c:pt>
              </c:strCache>
            </c:strRef>
          </c:cat>
          <c:val>
            <c:numRef>
              <c:f>'01.10.2022'!$E$3:$E$44</c:f>
            </c:numRef>
          </c:val>
        </c:ser>
        <c:ser>
          <c:idx val="3"/>
          <c:order val="3"/>
          <c:cat>
            <c:strRef>
              <c:f>'01.10.2022'!$B$3:$B$44</c:f>
              <c:strCache>
                <c:ptCount val="42"/>
                <c:pt idx="0">
                  <c:v>Тулунский р-н</c:v>
                </c:pt>
                <c:pt idx="1">
                  <c:v>г. Саянск</c:v>
                </c:pt>
                <c:pt idx="2">
                  <c:v>Зиминский р-н</c:v>
                </c:pt>
                <c:pt idx="3">
                  <c:v>Боханский р-н</c:v>
                </c:pt>
                <c:pt idx="4">
                  <c:v>Осинский р-н</c:v>
                </c:pt>
                <c:pt idx="5">
                  <c:v>г. Зима</c:v>
                </c:pt>
                <c:pt idx="6">
                  <c:v>г. Черемхово</c:v>
                </c:pt>
                <c:pt idx="7">
                  <c:v>Черемховский р-н </c:v>
                </c:pt>
                <c:pt idx="8">
                  <c:v>г.Свирск</c:v>
                </c:pt>
                <c:pt idx="9">
                  <c:v>Нукутский р-н</c:v>
                </c:pt>
                <c:pt idx="10">
                  <c:v>Заларинский р-н</c:v>
                </c:pt>
                <c:pt idx="11">
                  <c:v>г. Усть-Кут</c:v>
                </c:pt>
                <c:pt idx="12">
                  <c:v>Братский р-н</c:v>
                </c:pt>
                <c:pt idx="13">
                  <c:v>Баяндаевский р-н</c:v>
                </c:pt>
                <c:pt idx="14">
                  <c:v>Балаганский р-н</c:v>
                </c:pt>
                <c:pt idx="15">
                  <c:v>Аларский р-н</c:v>
                </c:pt>
                <c:pt idx="16">
                  <c:v>Мамско-Чуйский р-н</c:v>
                </c:pt>
                <c:pt idx="17">
                  <c:v>г. Усолье-Сибирское</c:v>
                </c:pt>
                <c:pt idx="18">
                  <c:v>Нижнеудинский р-н</c:v>
                </c:pt>
                <c:pt idx="19">
                  <c:v>Казачин.-Ленский р-н</c:v>
                </c:pt>
                <c:pt idx="20">
                  <c:v>Жигаловский р-н</c:v>
                </c:pt>
                <c:pt idx="21">
                  <c:v>Тайшетский р-н</c:v>
                </c:pt>
                <c:pt idx="22">
                  <c:v>Нижнеилимский р-н</c:v>
                </c:pt>
                <c:pt idx="23">
                  <c:v>Усольский р-н</c:v>
                </c:pt>
                <c:pt idx="24">
                  <c:v>г. Ангарск</c:v>
                </c:pt>
                <c:pt idx="25">
                  <c:v>г. Иркутск</c:v>
                </c:pt>
                <c:pt idx="26">
                  <c:v>Шелеховский р-н</c:v>
                </c:pt>
                <c:pt idx="27">
                  <c:v>г. Усть-Илимск</c:v>
                </c:pt>
                <c:pt idx="28">
                  <c:v>Качугский р-н</c:v>
                </c:pt>
                <c:pt idx="29">
                  <c:v>Эхирит-Булагатский </c:v>
                </c:pt>
                <c:pt idx="30">
                  <c:v>Иркутский р-н</c:v>
                </c:pt>
                <c:pt idx="31">
                  <c:v>г. Братск</c:v>
                </c:pt>
                <c:pt idx="32">
                  <c:v>г. Тулун</c:v>
                </c:pt>
                <c:pt idx="33">
                  <c:v>г. Бодайбо</c:v>
                </c:pt>
                <c:pt idx="34">
                  <c:v>Чунский р-н</c:v>
                </c:pt>
                <c:pt idx="35">
                  <c:v>Усть-Илимский р-н</c:v>
                </c:pt>
                <c:pt idx="36">
                  <c:v>Катангский р-н</c:v>
                </c:pt>
                <c:pt idx="37">
                  <c:v>Куйтунский р-н</c:v>
                </c:pt>
                <c:pt idx="38">
                  <c:v>Слюдянский р-н</c:v>
                </c:pt>
                <c:pt idx="39">
                  <c:v>Ольхонский р-н</c:v>
                </c:pt>
                <c:pt idx="40">
                  <c:v>Киренский р-н</c:v>
                </c:pt>
                <c:pt idx="41">
                  <c:v>Усть-Удинский р-н</c:v>
                </c:pt>
              </c:strCache>
            </c:strRef>
          </c:cat>
          <c:val>
            <c:numRef>
              <c:f>'01.10.2022'!$F$3:$F$44</c:f>
            </c:numRef>
          </c:val>
        </c:ser>
        <c:ser>
          <c:idx val="4"/>
          <c:order val="4"/>
          <c:spPr>
            <a:solidFill>
              <a:schemeClr val="tx2">
                <a:lumMod val="50000"/>
                <a:lumOff val="50000"/>
              </a:schemeClr>
            </a:solidFill>
          </c:spPr>
          <c:dLbls>
            <c:txPr>
              <a:bodyPr/>
              <a:lstStyle/>
              <a:p>
                <a:pPr>
                  <a:defRPr sz="700" baseline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'01.10.2022'!$B$3:$B$44</c:f>
              <c:strCache>
                <c:ptCount val="42"/>
                <c:pt idx="0">
                  <c:v>Тулунский р-н</c:v>
                </c:pt>
                <c:pt idx="1">
                  <c:v>г. Саянск</c:v>
                </c:pt>
                <c:pt idx="2">
                  <c:v>Зиминский р-н</c:v>
                </c:pt>
                <c:pt idx="3">
                  <c:v>Боханский р-н</c:v>
                </c:pt>
                <c:pt idx="4">
                  <c:v>Осинский р-н</c:v>
                </c:pt>
                <c:pt idx="5">
                  <c:v>г. Зима</c:v>
                </c:pt>
                <c:pt idx="6">
                  <c:v>г. Черемхово</c:v>
                </c:pt>
                <c:pt idx="7">
                  <c:v>Черемховский р-н </c:v>
                </c:pt>
                <c:pt idx="8">
                  <c:v>г.Свирск</c:v>
                </c:pt>
                <c:pt idx="9">
                  <c:v>Нукутский р-н</c:v>
                </c:pt>
                <c:pt idx="10">
                  <c:v>Заларинский р-н</c:v>
                </c:pt>
                <c:pt idx="11">
                  <c:v>г. Усть-Кут</c:v>
                </c:pt>
                <c:pt idx="12">
                  <c:v>Братский р-н</c:v>
                </c:pt>
                <c:pt idx="13">
                  <c:v>Баяндаевский р-н</c:v>
                </c:pt>
                <c:pt idx="14">
                  <c:v>Балаганский р-н</c:v>
                </c:pt>
                <c:pt idx="15">
                  <c:v>Аларский р-н</c:v>
                </c:pt>
                <c:pt idx="16">
                  <c:v>Мамско-Чуйский р-н</c:v>
                </c:pt>
                <c:pt idx="17">
                  <c:v>г. Усолье-Сибирское</c:v>
                </c:pt>
                <c:pt idx="18">
                  <c:v>Нижнеудинский р-н</c:v>
                </c:pt>
                <c:pt idx="19">
                  <c:v>Казачин.-Ленский р-н</c:v>
                </c:pt>
                <c:pt idx="20">
                  <c:v>Жигаловский р-н</c:v>
                </c:pt>
                <c:pt idx="21">
                  <c:v>Тайшетский р-н</c:v>
                </c:pt>
                <c:pt idx="22">
                  <c:v>Нижнеилимский р-н</c:v>
                </c:pt>
                <c:pt idx="23">
                  <c:v>Усольский р-н</c:v>
                </c:pt>
                <c:pt idx="24">
                  <c:v>г. Ангарск</c:v>
                </c:pt>
                <c:pt idx="25">
                  <c:v>г. Иркутск</c:v>
                </c:pt>
                <c:pt idx="26">
                  <c:v>Шелеховский р-н</c:v>
                </c:pt>
                <c:pt idx="27">
                  <c:v>г. Усть-Илимск</c:v>
                </c:pt>
                <c:pt idx="28">
                  <c:v>Качугский р-н</c:v>
                </c:pt>
                <c:pt idx="29">
                  <c:v>Эхирит-Булагатский </c:v>
                </c:pt>
                <c:pt idx="30">
                  <c:v>Иркутский р-н</c:v>
                </c:pt>
                <c:pt idx="31">
                  <c:v>г. Братск</c:v>
                </c:pt>
                <c:pt idx="32">
                  <c:v>г. Тулун</c:v>
                </c:pt>
                <c:pt idx="33">
                  <c:v>г. Бодайбо</c:v>
                </c:pt>
                <c:pt idx="34">
                  <c:v>Чунский р-н</c:v>
                </c:pt>
                <c:pt idx="35">
                  <c:v>Усть-Илимский р-н</c:v>
                </c:pt>
                <c:pt idx="36">
                  <c:v>Катангский р-н</c:v>
                </c:pt>
                <c:pt idx="37">
                  <c:v>Куйтунский р-н</c:v>
                </c:pt>
                <c:pt idx="38">
                  <c:v>Слюдянский р-н</c:v>
                </c:pt>
                <c:pt idx="39">
                  <c:v>Ольхонский р-н</c:v>
                </c:pt>
                <c:pt idx="40">
                  <c:v>Киренский р-н</c:v>
                </c:pt>
                <c:pt idx="41">
                  <c:v>Усть-Удинский р-н</c:v>
                </c:pt>
              </c:strCache>
            </c:strRef>
          </c:cat>
          <c:val>
            <c:numRef>
              <c:f>'01.10.2022'!$G$3:$G$44</c:f>
              <c:numCache>
                <c:formatCode>0.0</c:formatCode>
                <c:ptCount val="42"/>
                <c:pt idx="0">
                  <c:v>90.818307905686368</c:v>
                </c:pt>
                <c:pt idx="1">
                  <c:v>85.965770171149089</c:v>
                </c:pt>
                <c:pt idx="2">
                  <c:v>83.489746263468888</c:v>
                </c:pt>
                <c:pt idx="3">
                  <c:v>77.089613592765133</c:v>
                </c:pt>
                <c:pt idx="4">
                  <c:v>77.033132530120355</c:v>
                </c:pt>
                <c:pt idx="5">
                  <c:v>76.621322366339626</c:v>
                </c:pt>
                <c:pt idx="6">
                  <c:v>76.260976848827909</c:v>
                </c:pt>
                <c:pt idx="7">
                  <c:v>73.409493795548627</c:v>
                </c:pt>
                <c:pt idx="8">
                  <c:v>73.170731707316946</c:v>
                </c:pt>
                <c:pt idx="9">
                  <c:v>71.909167367535744</c:v>
                </c:pt>
                <c:pt idx="10">
                  <c:v>68.314948649676694</c:v>
                </c:pt>
                <c:pt idx="11">
                  <c:v>67.449963536180206</c:v>
                </c:pt>
                <c:pt idx="12">
                  <c:v>66.023947878147553</c:v>
                </c:pt>
                <c:pt idx="13">
                  <c:v>65.756676557863386</c:v>
                </c:pt>
                <c:pt idx="14">
                  <c:v>62.900641025640923</c:v>
                </c:pt>
                <c:pt idx="15">
                  <c:v>62.808392898316811</c:v>
                </c:pt>
                <c:pt idx="16">
                  <c:v>61.363636363636267</c:v>
                </c:pt>
                <c:pt idx="17">
                  <c:v>60.975943138326961</c:v>
                </c:pt>
                <c:pt idx="18">
                  <c:v>59.422008151167091</c:v>
                </c:pt>
                <c:pt idx="19">
                  <c:v>57.595424045759543</c:v>
                </c:pt>
                <c:pt idx="20">
                  <c:v>56.801390699695745</c:v>
                </c:pt>
                <c:pt idx="21">
                  <c:v>56.30601092896184</c:v>
                </c:pt>
                <c:pt idx="22">
                  <c:v>56.090931554237706</c:v>
                </c:pt>
                <c:pt idx="23">
                  <c:v>55.311669381805608</c:v>
                </c:pt>
                <c:pt idx="24">
                  <c:v>54.677872780504863</c:v>
                </c:pt>
                <c:pt idx="25">
                  <c:v>53.186835389663145</c:v>
                </c:pt>
                <c:pt idx="26">
                  <c:v>52.632202987906112</c:v>
                </c:pt>
                <c:pt idx="27">
                  <c:v>50.409676160749058</c:v>
                </c:pt>
                <c:pt idx="28">
                  <c:v>49.067679558011044</c:v>
                </c:pt>
                <c:pt idx="29">
                  <c:v>47.905372104485046</c:v>
                </c:pt>
                <c:pt idx="30">
                  <c:v>46.948867032549025</c:v>
                </c:pt>
                <c:pt idx="31">
                  <c:v>46.850697444759895</c:v>
                </c:pt>
                <c:pt idx="32">
                  <c:v>43.424529105940451</c:v>
                </c:pt>
                <c:pt idx="33">
                  <c:v>43.10189359783589</c:v>
                </c:pt>
                <c:pt idx="34">
                  <c:v>41.415929203539832</c:v>
                </c:pt>
                <c:pt idx="35">
                  <c:v>40.471276229790099</c:v>
                </c:pt>
                <c:pt idx="36">
                  <c:v>37.549019607843078</c:v>
                </c:pt>
                <c:pt idx="37">
                  <c:v>35.585231736056564</c:v>
                </c:pt>
                <c:pt idx="38">
                  <c:v>35.127179409766775</c:v>
                </c:pt>
                <c:pt idx="39">
                  <c:v>33.351862145636296</c:v>
                </c:pt>
                <c:pt idx="40">
                  <c:v>26.077746001482886</c:v>
                </c:pt>
                <c:pt idx="41">
                  <c:v>18.427114182296808</c:v>
                </c:pt>
              </c:numCache>
            </c:numRef>
          </c:val>
        </c:ser>
        <c:gapWidth val="90"/>
        <c:axId val="117590656"/>
        <c:axId val="78168448"/>
      </c:barChart>
      <c:catAx>
        <c:axId val="117590656"/>
        <c:scaling>
          <c:orientation val="minMax"/>
        </c:scaling>
        <c:axPos val="b"/>
        <c:tickLblPos val="nextTo"/>
        <c:txPr>
          <a:bodyPr/>
          <a:lstStyle/>
          <a:p>
            <a:pPr>
              <a:defRPr sz="8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78168448"/>
        <c:crosses val="autoZero"/>
        <c:auto val="1"/>
        <c:lblAlgn val="ctr"/>
        <c:lblOffset val="100"/>
      </c:catAx>
      <c:valAx>
        <c:axId val="78168448"/>
        <c:scaling>
          <c:orientation val="minMax"/>
          <c:min val="10"/>
        </c:scaling>
        <c:axPos val="l"/>
        <c:numFmt formatCode="0.0" sourceLinked="1"/>
        <c:tickLblPos val="nextTo"/>
        <c:txPr>
          <a:bodyPr/>
          <a:lstStyle/>
          <a:p>
            <a:pPr>
              <a:defRPr sz="800" baseline="0"/>
            </a:pPr>
            <a:endParaRPr lang="ru-RU"/>
          </a:p>
        </c:txPr>
        <c:crossAx val="117590656"/>
        <c:crosses val="autoZero"/>
        <c:crossBetween val="between"/>
      </c:valAx>
    </c:plotArea>
    <c:plotVisOnly val="1"/>
  </c:chart>
  <c:externalData r:id="rId1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415</cdr:x>
      <cdr:y>0.66635</cdr:y>
    </cdr:from>
    <cdr:to>
      <cdr:x>0.39883</cdr:x>
      <cdr:y>0.75752</cdr:y>
    </cdr:to>
    <cdr:sp macro="" textlink="">
      <cdr:nvSpPr>
        <cdr:cNvPr id="8" name="TextBox 7"/>
        <cdr:cNvSpPr txBox="1"/>
      </cdr:nvSpPr>
      <cdr:spPr>
        <a:xfrm xmlns:a="http://schemas.openxmlformats.org/drawingml/2006/main" rot="20400298">
          <a:off x="915039" y="1967287"/>
          <a:ext cx="520918" cy="26915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90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600" cy="492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72" tIns="44787" rIns="89572" bIns="44787" numCol="1" anchor="t" anchorCtr="0" compatLnSpc="1">
            <a:prstTxWarp prst="textNoShape">
              <a:avLst/>
            </a:prstTxWarp>
          </a:bodyPr>
          <a:lstStyle>
            <a:lvl1pPr defTabSz="897297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3075" y="1"/>
            <a:ext cx="2944600" cy="492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72" tIns="44787" rIns="89572" bIns="44787" numCol="1" anchor="t" anchorCtr="0" compatLnSpc="1">
            <a:prstTxWarp prst="textNoShape">
              <a:avLst/>
            </a:prstTxWarp>
          </a:bodyPr>
          <a:lstStyle>
            <a:lvl1pPr algn="r" defTabSz="897297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fld id="{7CEE615C-2E7F-4193-9DC4-31A52BE8C70C}" type="datetime1">
              <a:rPr lang="en-US"/>
              <a:pPr>
                <a:defRPr/>
              </a:pPr>
              <a:t>11/23/2022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5786"/>
            <a:ext cx="2944600" cy="492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72" tIns="44787" rIns="89572" bIns="44787" numCol="1" anchor="b" anchorCtr="0" compatLnSpc="1">
            <a:prstTxWarp prst="textNoShape">
              <a:avLst/>
            </a:prstTxWarp>
          </a:bodyPr>
          <a:lstStyle>
            <a:lvl1pPr defTabSz="897297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3075" y="9435786"/>
            <a:ext cx="2944600" cy="492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72" tIns="44787" rIns="89572" bIns="44787" numCol="1" anchor="b" anchorCtr="0" compatLnSpc="1">
            <a:prstTxWarp prst="textNoShape">
              <a:avLst/>
            </a:prstTxWarp>
          </a:bodyPr>
          <a:lstStyle>
            <a:lvl1pPr algn="r" defTabSz="897297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fld id="{A7FE7D28-0A51-4AB1-ABC8-B6D606D715B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217031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19378" y="9464379"/>
            <a:ext cx="541590" cy="168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897297">
              <a:defRPr sz="11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37B1496F-B3C4-4C21-9F54-E3016DA44D0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37" name="McK Separator" hidden="1"/>
          <p:cNvSpPr>
            <a:spLocks noChangeShapeType="1"/>
          </p:cNvSpPr>
          <p:nvPr/>
        </p:nvSpPr>
        <p:spPr bwMode="auto">
          <a:xfrm>
            <a:off x="816356" y="1505913"/>
            <a:ext cx="519672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1477" tIns="45738" rIns="91477" bIns="45738"/>
          <a:lstStyle/>
          <a:p>
            <a:pPr>
              <a:defRPr/>
            </a:pPr>
            <a:endParaRPr lang="ru-RU" sz="1200" b="0" dirty="0">
              <a:cs typeface="+mn-cs"/>
            </a:endParaRPr>
          </a:p>
        </p:txBody>
      </p:sp>
      <p:sp>
        <p:nvSpPr>
          <p:cNvPr id="9" name="Образ слайда 8"/>
          <p:cNvSpPr>
            <a:spLocks noGrp="1" noRot="1" noChangeAspect="1"/>
          </p:cNvSpPr>
          <p:nvPr>
            <p:ph type="sldImg" idx="2"/>
          </p:nvPr>
        </p:nvSpPr>
        <p:spPr>
          <a:xfrm>
            <a:off x="504825" y="328613"/>
            <a:ext cx="6003925" cy="4505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77" tIns="45738" rIns="91477" bIns="45738" rtlCol="0" anchor="ctr"/>
          <a:lstStyle/>
          <a:p>
            <a:pPr lvl="0"/>
            <a:endParaRPr lang="ru-RU" noProof="0" dirty="0"/>
          </a:p>
        </p:txBody>
      </p:sp>
      <p:sp>
        <p:nvSpPr>
          <p:cNvPr id="10" name="Заметки 9"/>
          <p:cNvSpPr>
            <a:spLocks noGrp="1"/>
          </p:cNvSpPr>
          <p:nvPr>
            <p:ph type="body" sz="quarter" idx="3"/>
          </p:nvPr>
        </p:nvSpPr>
        <p:spPr bwMode="auto">
          <a:xfrm>
            <a:off x="447885" y="5010181"/>
            <a:ext cx="6121084" cy="4368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664" tIns="45832" rIns="91664" bIns="458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dirty="0" smtClean="0"/>
              <a:t>Образец текста</a:t>
            </a:r>
          </a:p>
          <a:p>
            <a:pPr lvl="1"/>
            <a:r>
              <a:rPr lang="ru-RU" noProof="0" dirty="0" smtClean="0"/>
              <a:t>Второй уровень</a:t>
            </a:r>
          </a:p>
          <a:p>
            <a:pPr lvl="2"/>
            <a:r>
              <a:rPr lang="ru-RU" noProof="0" dirty="0" smtClean="0"/>
              <a:t>Третий уровень</a:t>
            </a:r>
          </a:p>
          <a:p>
            <a:pPr lvl="3"/>
            <a:r>
              <a:rPr lang="ru-RU" noProof="0" dirty="0" smtClean="0"/>
              <a:t>Четвертый уровень</a:t>
            </a:r>
          </a:p>
          <a:p>
            <a:pPr lvl="4"/>
            <a:r>
              <a:rPr lang="ru-RU" noProof="0" dirty="0" smtClean="0"/>
              <a:t>Пятый уровень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xmlns="" val="215020498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742477" indent="-28556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142273" indent="-22845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599183" indent="-22845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056092" indent="-22845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4548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454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364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276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B1496F-B3C4-4C21-9F54-E3016DA44D0A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B1496F-B3C4-4C21-9F54-E3016DA44D0A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4" y="2139950"/>
            <a:ext cx="5027611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400" b="0" dirty="0">
                  <a:cs typeface="+mn-cs"/>
                </a:rPr>
                <a:t>КОНФИДЕНЦИАЛЬНО</a:t>
              </a:r>
              <a:endParaRPr lang="en-US" sz="1400" b="0" dirty="0">
                <a:cs typeface="+mn-cs"/>
              </a:endParaRP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ru-RU" sz="1400" b="0" dirty="0">
                  <a:cs typeface="+mn-cs"/>
                </a:rPr>
                <a:t>Тип документа</a:t>
              </a:r>
              <a:endParaRPr lang="en-US" sz="1400" b="0" dirty="0">
                <a:cs typeface="+mn-cs"/>
              </a:endParaRP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1400" b="0" dirty="0">
                  <a:cs typeface="+mn-cs"/>
                </a:rPr>
                <a:t>Дата</a:t>
              </a:r>
              <a:endParaRPr lang="en-US" sz="1400" b="0" dirty="0">
                <a:cs typeface="+mn-cs"/>
              </a:endParaRP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ru-RU" sz="900" b="0" dirty="0">
                  <a:cs typeface="+mn-cs"/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4863" eaLnBrk="0" hangingPunct="0">
                <a:defRPr/>
              </a:pPr>
              <a:endParaRPr lang="ru-RU" sz="900" b="0" dirty="0">
                <a:cs typeface="+mn-cs"/>
              </a:endParaRPr>
            </a:p>
            <a:p>
              <a:pPr defTabSz="804863" eaLnBrk="0" hangingPunct="0">
                <a:defRPr/>
              </a:pPr>
              <a:r>
                <a:rPr lang="ru-RU" sz="900" b="0" dirty="0">
                  <a:cs typeface="+mn-cs"/>
                </a:rPr>
                <a:t>Настоящий отчет был использован консультантами </a:t>
              </a:r>
              <a:br>
                <a:rPr lang="ru-RU" sz="900" b="0" dirty="0">
                  <a:cs typeface="+mn-cs"/>
                </a:rPr>
              </a:br>
              <a:r>
                <a:rPr lang="ru-RU" sz="900" b="0" dirty="0">
                  <a:cs typeface="+mn-cs"/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buSzPct val="120000"/>
              <a:defRPr/>
            </a:pPr>
            <a:r>
              <a:rPr lang="en-US" sz="1400" b="0" dirty="0">
                <a:cs typeface="+mn-cs"/>
              </a:rPr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1" y="582612"/>
            <a:ext cx="399904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0" dirty="0">
                <a:cs typeface="+mn-cs"/>
              </a:rPr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1" y="800100"/>
            <a:ext cx="357264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0" dirty="0">
                <a:cs typeface="+mn-cs"/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17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17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6956664" y="36514"/>
            <a:ext cx="1780936" cy="123111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 smtClean="0"/>
              <a:t>MOS-ROS005-200600608-SS1wm-r_c</a:t>
            </a:r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70133" y="1273175"/>
            <a:ext cx="5170646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BF9BDA-734E-4836-86AF-46979EC0AD0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88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88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388EE3-947D-4B66-BDFC-E99B1F621BC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7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6FC80D-794D-40B4-A259-DFF1D7EF934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4" y="230189"/>
            <a:ext cx="8618537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2238" y="1273176"/>
            <a:ext cx="8618537" cy="246221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9FAC73-781F-4650-8059-0B2E339B5DC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19064" y="230189"/>
            <a:ext cx="8618537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122238" y="1273175"/>
            <a:ext cx="4232276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506913" y="1273175"/>
            <a:ext cx="4233862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122238" y="1960563"/>
            <a:ext cx="4232276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06913" y="1960563"/>
            <a:ext cx="4233862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ABF01F-65A1-46BF-9A4B-B482E85D5D1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4" y="230189"/>
            <a:ext cx="8618537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5"/>
            <a:ext cx="4232276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506913" y="1273175"/>
            <a:ext cx="4233862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506913" y="1960563"/>
            <a:ext cx="4233862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688461-B4CE-4BC0-B29A-687396D413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лип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4" y="230189"/>
            <a:ext cx="8618537" cy="292388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Клип 2"/>
          <p:cNvSpPr>
            <a:spLocks noGrp="1"/>
          </p:cNvSpPr>
          <p:nvPr>
            <p:ph type="clipArt" sz="half" idx="1"/>
          </p:nvPr>
        </p:nvSpPr>
        <p:spPr>
          <a:xfrm>
            <a:off x="122238" y="1273176"/>
            <a:ext cx="4232276" cy="246221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06913" y="1273175"/>
            <a:ext cx="4233862" cy="1231106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8084C9-3A9B-4E03-A29F-9703DC1E240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2DCDEC-0CB3-4D77-A1B1-E1E47F3E031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90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6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DB5B1E-ACA3-408F-B97C-4DA60E40790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8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78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AE52DE-2792-48D9-800B-9D8BEE0B32C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8" y="269875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3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3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7018FD-93BD-4C60-9A65-9D0F2CF9CD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C5A421-2B6E-4448-B23F-C0496CB0FBF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946E4D-7579-49B9-A389-94D90CE46AC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8" y="268291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8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8FD829-1137-47E1-99DF-CCD634A7F6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8" y="4705352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8" y="600078"/>
            <a:ext cx="5376863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8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A76EE5-AB7F-450E-8B1E-460A1612F0A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8" name="Group 343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-6349" y="-22224"/>
            <a:ext cx="8963025" cy="236538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6403975" y="-20637"/>
            <a:ext cx="2559050" cy="234951"/>
          </a:xfrm>
          <a:custGeom>
            <a:avLst/>
            <a:gdLst>
              <a:gd name="T0" fmla="*/ 0 w 1612"/>
              <a:gd name="T1" fmla="*/ 0 h 164"/>
              <a:gd name="T2" fmla="*/ 95 w 1612"/>
              <a:gd name="T3" fmla="*/ 164 h 164"/>
              <a:gd name="T4" fmla="*/ 1612 w 1612"/>
              <a:gd name="T5" fmla="*/ 164 h 164"/>
              <a:gd name="T6" fmla="*/ 1612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1430" tIns="45715" rIns="91430" bIns="45715"/>
          <a:lstStyle/>
          <a:p>
            <a:pPr>
              <a:defRPr/>
            </a:pPr>
            <a:endParaRPr lang="ru-RU" sz="1200" b="0" dirty="0">
              <a:cs typeface="+mn-cs"/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21"/>
            </p:custDataLst>
          </p:nvPr>
        </p:nvSpPr>
        <p:spPr bwMode="auto">
          <a:xfrm>
            <a:off x="-6350" y="-26987"/>
            <a:ext cx="8991600" cy="254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 sz="1200" b="0" dirty="0">
              <a:cs typeface="+mn-cs"/>
            </a:endParaRPr>
          </a:p>
        </p:txBody>
      </p:sp>
      <p:grpSp>
        <p:nvGrpSpPr>
          <p:cNvPr id="1031" name="Group 355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1430" tIns="45715" rIns="91430" bIns="45715" anchor="ctr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4 h 164"/>
                <a:gd name="T4" fmla="*/ 1612 w 1612"/>
                <a:gd name="T5" fmla="*/ 16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3"/>
            </p:custDataLst>
          </p:nvPr>
        </p:nvSpPr>
        <p:spPr bwMode="auto">
          <a:xfrm>
            <a:off x="6870700" y="6527800"/>
            <a:ext cx="186690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1EBB209-590B-4E23-BD59-CA090E51C0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33" name="Rectangle 2"/>
          <p:cNvSpPr>
            <a:spLocks noGrp="1" noChangeArrowheads="1"/>
          </p:cNvSpPr>
          <p:nvPr>
            <p:ph type="title"/>
            <p:custDataLst>
              <p:tags r:id="rId24"/>
            </p:custDataLst>
          </p:nvPr>
        </p:nvSpPr>
        <p:spPr bwMode="auto">
          <a:xfrm>
            <a:off x="119064" y="230189"/>
            <a:ext cx="8618537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4" name="Rectangle 3"/>
          <p:cNvSpPr>
            <a:spLocks noGrp="1" noChangeArrowheads="1"/>
          </p:cNvSpPr>
          <p:nvPr>
            <p:ph type="body" idx="1"/>
            <p:custDataLst>
              <p:tags r:id="rId25"/>
            </p:custDataLst>
          </p:nvPr>
        </p:nvSpPr>
        <p:spPr bwMode="auto">
          <a:xfrm>
            <a:off x="122238" y="1273175"/>
            <a:ext cx="8618537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5" name="McK Slide Elements"/>
          <p:cNvGrpSpPr>
            <a:grpSpLocks/>
          </p:cNvGrpSpPr>
          <p:nvPr/>
        </p:nvGrpSpPr>
        <p:grpSpPr bwMode="auto">
          <a:xfrm>
            <a:off x="122238" y="531814"/>
            <a:ext cx="8618537" cy="6167437"/>
            <a:chOff x="77" y="335"/>
            <a:chExt cx="5429" cy="3885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 b="0" dirty="0">
                  <a:cs typeface="+mn-cs"/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06450" indent="-806450" defTabSz="895350">
                <a:tabLst>
                  <a:tab pos="717550" algn="r"/>
                </a:tabLst>
                <a:defRPr/>
              </a:pPr>
              <a:r>
                <a:rPr lang="ru-RU" sz="1200" b="0" dirty="0">
                  <a:solidFill>
                    <a:srgbClr val="000000"/>
                  </a:solidFill>
                  <a:cs typeface="+mn-cs"/>
                </a:rPr>
                <a:t>	</a:t>
              </a:r>
              <a:r>
                <a:rPr lang="en-US" sz="1200" b="0" dirty="0">
                  <a:solidFill>
                    <a:srgbClr val="000000"/>
                  </a:solidFill>
                  <a:cs typeface="+mn-cs"/>
                </a:rPr>
                <a:t>*</a:t>
              </a:r>
              <a:r>
                <a:rPr lang="ru-RU" sz="1200" b="0" dirty="0">
                  <a:solidFill>
                    <a:srgbClr val="000000"/>
                  </a:solidFill>
                  <a:cs typeface="+mn-cs"/>
                </a:rPr>
                <a:t>	Сноска</a:t>
              </a:r>
              <a:endParaRPr lang="en-US" sz="1200" b="0" dirty="0">
                <a:solidFill>
                  <a:srgbClr val="000000"/>
                </a:solidFill>
                <a:cs typeface="+mn-cs"/>
              </a:endParaRPr>
            </a:p>
            <a:p>
              <a:pPr marL="806450" indent="-806450" defTabSz="895350">
                <a:spcBef>
                  <a:spcPct val="20000"/>
                </a:spcBef>
                <a:tabLst>
                  <a:tab pos="717550" algn="r"/>
                </a:tabLst>
                <a:defRPr/>
              </a:pPr>
              <a:r>
                <a:rPr lang="ru-RU" sz="1200" b="0" dirty="0">
                  <a:solidFill>
                    <a:srgbClr val="000000"/>
                  </a:solidFill>
                  <a:cs typeface="+mn-cs"/>
                </a:rPr>
                <a:t>	Источник</a:t>
              </a:r>
              <a:r>
                <a:rPr lang="en-US" sz="1200" b="0" dirty="0">
                  <a:solidFill>
                    <a:srgbClr val="000000"/>
                  </a:solidFill>
                  <a:cs typeface="+mn-cs"/>
                </a:rPr>
                <a:t>:</a:t>
              </a:r>
              <a:r>
                <a:rPr lang="ru-RU" sz="1200" b="0" dirty="0">
                  <a:solidFill>
                    <a:srgbClr val="000000"/>
                  </a:solidFill>
                  <a:cs typeface="+mn-cs"/>
                </a:rPr>
                <a:t>	Источник</a:t>
              </a:r>
              <a:endParaRPr lang="en-US" sz="1200" b="0" dirty="0">
                <a:solidFill>
                  <a:srgbClr val="000000"/>
                </a:solidFill>
                <a:cs typeface="+mn-cs"/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 rot="5400000">
            <a:off x="8026768" y="2710528"/>
            <a:ext cx="1729641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 b="0" dirty="0">
                <a:cs typeface="+mn-cs"/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 rot="5400000">
            <a:off x="8403473" y="4217066"/>
            <a:ext cx="976229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 b="0" dirty="0">
                <a:cs typeface="+mn-cs"/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8"/>
            </p:custDataLst>
          </p:nvPr>
        </p:nvSpPr>
        <p:spPr bwMode="auto">
          <a:xfrm>
            <a:off x="147639" y="36514"/>
            <a:ext cx="180658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bg2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1026" name="Rectangle 38" hidden="1"/>
          <p:cNvGraphicFramePr>
            <a:graphicFrameLocks/>
          </p:cNvGraphicFramePr>
          <p:nvPr/>
        </p:nvGraphicFramePr>
        <p:xfrm>
          <a:off x="0" y="0"/>
          <a:ext cx="158751" cy="158750"/>
        </p:xfrm>
        <a:graphic>
          <a:graphicData uri="http://schemas.openxmlformats.org/presentationml/2006/ole">
            <p:oleObj spid="_x0000_s1035" r:id="rId30" imgW="0" imgH="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243" r:id="rId1"/>
    <p:sldLayoutId id="2147484228" r:id="rId2"/>
    <p:sldLayoutId id="2147484229" r:id="rId3"/>
    <p:sldLayoutId id="2147484230" r:id="rId4"/>
    <p:sldLayoutId id="2147484231" r:id="rId5"/>
    <p:sldLayoutId id="2147484232" r:id="rId6"/>
    <p:sldLayoutId id="2147484233" r:id="rId7"/>
    <p:sldLayoutId id="2147484234" r:id="rId8"/>
    <p:sldLayoutId id="2147484235" r:id="rId9"/>
    <p:sldLayoutId id="2147484236" r:id="rId10"/>
    <p:sldLayoutId id="2147484237" r:id="rId11"/>
    <p:sldLayoutId id="2147484238" r:id="rId12"/>
    <p:sldLayoutId id="2147484239" r:id="rId13"/>
    <p:sldLayoutId id="2147484240" r:id="rId14"/>
    <p:sldLayoutId id="2147484241" r:id="rId15"/>
    <p:sldLayoutId id="2147484242" r:id="rId16"/>
  </p:sldLayoutIdLst>
  <p:hf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mailto:m.charchidi@fgszn.irtel.ru" TargetMode="Externa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mailto:m.charchidi@fgszn.irtel.ru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 txBox="1">
            <a:spLocks/>
          </p:cNvSpPr>
          <p:nvPr/>
        </p:nvSpPr>
        <p:spPr bwMode="auto">
          <a:xfrm>
            <a:off x="664295" y="2856681"/>
            <a:ext cx="7632848" cy="2664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63" tIns="45682" rIns="91363" bIns="45682"/>
          <a:lstStyle/>
          <a:p>
            <a:pPr algn="ctr">
              <a:defRPr/>
            </a:pPr>
            <a:r>
              <a:rPr lang="ru-RU" sz="1800" dirty="0" smtClean="0">
                <a:solidFill>
                  <a:srgbClr val="0055C8"/>
                </a:solidFill>
                <a:latin typeface="Times New Roman" pitchFamily="18" charset="0"/>
                <a:cs typeface="Times New Roman" pitchFamily="18" charset="0"/>
              </a:rPr>
              <a:t>О результатах работы по коллективно-договорному регулированию  в Иркутской области </a:t>
            </a:r>
            <a:br>
              <a:rPr lang="ru-RU" sz="1800" dirty="0" smtClean="0">
                <a:solidFill>
                  <a:srgbClr val="0055C8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800" dirty="0" smtClean="0">
                <a:solidFill>
                  <a:srgbClr val="0055C8"/>
                </a:solidFill>
                <a:latin typeface="Times New Roman" pitchFamily="18" charset="0"/>
                <a:cs typeface="Times New Roman" pitchFamily="18" charset="0"/>
              </a:rPr>
              <a:t>на 1 октября 2022 года. </a:t>
            </a:r>
            <a:br>
              <a:rPr lang="ru-RU" sz="1800" dirty="0" smtClean="0">
                <a:solidFill>
                  <a:srgbClr val="0055C8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800" dirty="0" smtClean="0">
                <a:solidFill>
                  <a:srgbClr val="0055C8"/>
                </a:solidFill>
                <a:latin typeface="Times New Roman" pitchFamily="18" charset="0"/>
                <a:cs typeface="Times New Roman" pitchFamily="18" charset="0"/>
              </a:rPr>
              <a:t>О качестве подготовки и своевременности предоставления отчетности по коллективно-договорному регулированию.</a:t>
            </a:r>
          </a:p>
          <a:p>
            <a:pPr algn="ctr">
              <a:defRPr/>
            </a:pPr>
            <a:r>
              <a:rPr lang="ru-RU" sz="1800" dirty="0" smtClean="0">
                <a:solidFill>
                  <a:srgbClr val="0055C8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sz="1800" dirty="0">
              <a:solidFill>
                <a:srgbClr val="0055C8"/>
              </a:solidFill>
              <a:latin typeface="Calibri" pitchFamily="34" charset="0"/>
            </a:endParaRPr>
          </a:p>
        </p:txBody>
      </p:sp>
      <p:pic>
        <p:nvPicPr>
          <p:cNvPr id="3075" name="Picture 2" descr="http://www.irkobl.ru/irk/symbol/irkobl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71939" y="533400"/>
            <a:ext cx="1000126" cy="1247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4"/>
          <p:cNvSpPr txBox="1">
            <a:spLocks noChangeArrowheads="1"/>
          </p:cNvSpPr>
          <p:nvPr/>
        </p:nvSpPr>
        <p:spPr bwMode="auto">
          <a:xfrm>
            <a:off x="7" y="1819282"/>
            <a:ext cx="8961437" cy="276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63" tIns="45682" rIns="91363" bIns="45682"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rgbClr val="0055C8"/>
                </a:solidFill>
                <a:latin typeface="Times New Roman" pitchFamily="18" charset="0"/>
                <a:cs typeface="Times New Roman" pitchFamily="18" charset="0"/>
              </a:rPr>
              <a:t>МИНИСТЕРСТВО ТРУДА И ЗАНЯТОСТИ ИРКУТСКОЙ ОБЛАСТИ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4419609" y="4724401"/>
            <a:ext cx="4343401" cy="15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946E4D-7579-49B9-A389-94D90CE46AC6}" type="slidenum">
              <a:rPr lang="en-US" smtClean="0"/>
              <a:pPr/>
              <a:t>0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946E4D-7579-49B9-A389-94D90CE46AC6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OS-ROS005-200600608-SS1wm-r_c</a:t>
            </a:r>
            <a:endParaRPr lang="ru-RU"/>
          </a:p>
        </p:txBody>
      </p:sp>
      <p:graphicFrame>
        <p:nvGraphicFramePr>
          <p:cNvPr id="4" name="Диаграмма 3"/>
          <p:cNvGraphicFramePr/>
          <p:nvPr/>
        </p:nvGraphicFramePr>
        <p:xfrm>
          <a:off x="592287" y="984473"/>
          <a:ext cx="7776864" cy="4392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946E4D-7579-49B9-A389-94D90CE46AC6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OS-ROS005-200600608-SS1wm-r_c</a:t>
            </a:r>
            <a:endParaRPr lang="ru-RU"/>
          </a:p>
        </p:txBody>
      </p:sp>
      <p:graphicFrame>
        <p:nvGraphicFramePr>
          <p:cNvPr id="4" name="Диаграмма 3"/>
          <p:cNvGraphicFramePr/>
          <p:nvPr/>
        </p:nvGraphicFramePr>
        <p:xfrm>
          <a:off x="736303" y="696441"/>
          <a:ext cx="7560840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946E4D-7579-49B9-A389-94D90CE46AC6}" type="slidenum">
              <a:rPr lang="en-US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pPr>
                <a:defRPr/>
              </a:pPr>
              <a:t>3</a:t>
            </a:fld>
            <a:endParaRPr lang="en-US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MOS-ROS005-200600608-SS1wm-r_c</a:t>
            </a:r>
            <a:endParaRPr lang="ru-RU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4" name="Диаграмма 3"/>
          <p:cNvGraphicFramePr/>
          <p:nvPr/>
        </p:nvGraphicFramePr>
        <p:xfrm>
          <a:off x="147638" y="1128488"/>
          <a:ext cx="8813799" cy="5399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592287" y="336401"/>
            <a:ext cx="814531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Рейтинг муниципальных образований Иркутской области </a:t>
            </a:r>
            <a:br>
              <a:rPr lang="ru-RU" sz="1600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</a:br>
            <a:r>
              <a:rPr lang="ru-RU" sz="1600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по доле работников охваченных коллективными договорами (%)</a:t>
            </a:r>
          </a:p>
          <a:p>
            <a:pPr algn="ctr"/>
            <a:r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на </a:t>
            </a:r>
            <a:r>
              <a:rPr lang="ru-RU" sz="1600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1 октября 2022 года</a:t>
            </a:r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946E4D-7579-49B9-A389-94D90CE46AC6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OS-ROS005-200600608-SS1wm-r_c</a:t>
            </a:r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376263" y="480417"/>
            <a:ext cx="83613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Анализ представленных отчетов за 3 квартал 2022 года показал:</a:t>
            </a:r>
            <a:br>
              <a:rPr lang="ru-RU" sz="180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096343" y="1126748"/>
            <a:ext cx="7128792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более 23% отчетов представлены с нарушением сроков;</a:t>
            </a:r>
          </a:p>
          <a:p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Tx/>
              <a:buChar char="-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12,3 % отчетов направлены не по адресу (адрес для направления отчета: </a:t>
            </a:r>
            <a:r>
              <a:rPr lang="en-US" sz="1800" u="sng" dirty="0" smtClean="0">
                <a:latin typeface="Times New Roman" pitchFamily="18" charset="0"/>
                <a:cs typeface="Times New Roman" pitchFamily="18" charset="0"/>
                <a:hlinkClick r:id="rId2"/>
              </a:rPr>
              <a:t>m</a:t>
            </a:r>
            <a:r>
              <a:rPr lang="ru-RU" sz="1800" u="sng" dirty="0" smtClean="0">
                <a:latin typeface="Times New Roman" pitchFamily="18" charset="0"/>
                <a:cs typeface="Times New Roman" pitchFamily="18" charset="0"/>
                <a:hlinkClick r:id="rId2"/>
              </a:rPr>
              <a:t>.</a:t>
            </a:r>
            <a:r>
              <a:rPr lang="en-US" sz="1800" u="sng" dirty="0" err="1" smtClean="0">
                <a:latin typeface="Times New Roman" pitchFamily="18" charset="0"/>
                <a:cs typeface="Times New Roman" pitchFamily="18" charset="0"/>
                <a:hlinkClick r:id="rId2"/>
              </a:rPr>
              <a:t>charchidi</a:t>
            </a:r>
            <a:r>
              <a:rPr lang="ru-RU" sz="1800" u="sng" dirty="0" smtClean="0">
                <a:latin typeface="Times New Roman" pitchFamily="18" charset="0"/>
                <a:cs typeface="Times New Roman" pitchFamily="18" charset="0"/>
                <a:hlinkClick r:id="rId2"/>
              </a:rPr>
              <a:t>@</a:t>
            </a:r>
            <a:r>
              <a:rPr lang="en-US" sz="1800" u="sng" dirty="0" err="1" smtClean="0">
                <a:latin typeface="Times New Roman" pitchFamily="18" charset="0"/>
                <a:cs typeface="Times New Roman" pitchFamily="18" charset="0"/>
                <a:hlinkClick r:id="rId2"/>
              </a:rPr>
              <a:t>fgszn</a:t>
            </a:r>
            <a:r>
              <a:rPr lang="ru-RU" sz="1800" u="sng" dirty="0" smtClean="0">
                <a:latin typeface="Times New Roman" pitchFamily="18" charset="0"/>
                <a:cs typeface="Times New Roman" pitchFamily="18" charset="0"/>
                <a:hlinkClick r:id="rId2"/>
              </a:rPr>
              <a:t>.</a:t>
            </a:r>
            <a:r>
              <a:rPr lang="en-US" sz="1800" u="sng" dirty="0" err="1" smtClean="0">
                <a:latin typeface="Times New Roman" pitchFamily="18" charset="0"/>
                <a:cs typeface="Times New Roman" pitchFamily="18" charset="0"/>
                <a:hlinkClick r:id="rId2"/>
              </a:rPr>
              <a:t>irtel</a:t>
            </a:r>
            <a:r>
              <a:rPr lang="ru-RU" sz="1800" u="sng" dirty="0" smtClean="0">
                <a:latin typeface="Times New Roman" pitchFamily="18" charset="0"/>
                <a:cs typeface="Times New Roman" pitchFamily="18" charset="0"/>
                <a:hlinkClick r:id="rId2"/>
              </a:rPr>
              <a:t>.</a:t>
            </a:r>
            <a:r>
              <a:rPr lang="en-US" sz="1800" u="sng" dirty="0" err="1" smtClean="0">
                <a:latin typeface="Times New Roman" pitchFamily="18" charset="0"/>
                <a:cs typeface="Times New Roman" pitchFamily="18" charset="0"/>
                <a:hlinkClick r:id="rId2"/>
              </a:rPr>
              <a:t>ru</a:t>
            </a:r>
            <a:r>
              <a:rPr lang="ru-RU" sz="1800" u="sng" dirty="0" smtClean="0">
                <a:latin typeface="Times New Roman" pitchFamily="18" charset="0"/>
                <a:cs typeface="Times New Roman" pitchFamily="18" charset="0"/>
              </a:rPr>
              <a:t>)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Tx/>
              <a:buChar char="-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в отчетах не указаны контактные данные исполнителя, отсутствует подпись руководителя;</a:t>
            </a:r>
          </a:p>
          <a:p>
            <a:pPr>
              <a:buFontTx/>
              <a:buChar char="-"/>
            </a:pP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Tx/>
              <a:buChar char="-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часть отчетов за 3 квартал были продублированы со 2 квартала;</a:t>
            </a:r>
          </a:p>
          <a:p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- 35% отчетов имеют арифметические ошибки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3" y="363976"/>
            <a:ext cx="8065294" cy="404479"/>
          </a:xfrm>
        </p:spPr>
        <p:txBody>
          <a:bodyPr>
            <a:normAutofit/>
          </a:bodyPr>
          <a:lstStyle/>
          <a:p>
            <a:pPr algn="ctr"/>
            <a:r>
              <a:rPr lang="ru-RU" sz="1800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Требования по порядку предоставления отчетности в министерство: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48073" y="768456"/>
            <a:ext cx="8065294" cy="5235758"/>
          </a:xfrm>
        </p:spPr>
        <p:txBody>
          <a:bodyPr>
            <a:normAutofit/>
          </a:bodyPr>
          <a:lstStyle/>
          <a:p>
            <a:pPr algn="just">
              <a:buNone/>
            </a:pP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     Сопроводительное письмо к отчету подписывается уполномоченным лицом (мэром, зам.мэра), приложения могут подписываться специалистом, осуществляющим отдельные государственные полномочия в сфере труда. </a:t>
            </a:r>
          </a:p>
          <a:p>
            <a:pPr algn="just"/>
            <a:endParaRPr lang="ru-RU" sz="1800" dirty="0">
              <a:latin typeface="Times New Roman" pitchFamily="18" charset="0"/>
              <a:cs typeface="Times New Roman" pitchFamily="18" charset="0"/>
            </a:endParaRPr>
          </a:p>
          <a:p>
            <a:pPr algn="just">
              <a:buNone/>
            </a:pP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     Отчет высылается в адрес министерства в установленные сроки по электронной почте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sz="1800" b="1" u="sng" dirty="0" smtClean="0">
                <a:latin typeface="Times New Roman" pitchFamily="18" charset="0"/>
                <a:cs typeface="Times New Roman" pitchFamily="18" charset="0"/>
                <a:hlinkClick r:id="rId2"/>
              </a:rPr>
              <a:t>m</a:t>
            </a:r>
            <a:r>
              <a:rPr lang="ru-RU" sz="1800" b="1" u="sng" dirty="0" smtClean="0">
                <a:latin typeface="Times New Roman" pitchFamily="18" charset="0"/>
                <a:cs typeface="Times New Roman" pitchFamily="18" charset="0"/>
                <a:hlinkClick r:id="rId2"/>
              </a:rPr>
              <a:t>.</a:t>
            </a:r>
            <a:r>
              <a:rPr lang="en-US" sz="1800" b="1" u="sng" dirty="0" err="1" smtClean="0">
                <a:latin typeface="Times New Roman" pitchFamily="18" charset="0"/>
                <a:cs typeface="Times New Roman" pitchFamily="18" charset="0"/>
                <a:hlinkClick r:id="rId2"/>
              </a:rPr>
              <a:t>charchidi</a:t>
            </a:r>
            <a:r>
              <a:rPr lang="ru-RU" sz="1800" b="1" u="sng" dirty="0" smtClean="0">
                <a:latin typeface="Times New Roman" pitchFamily="18" charset="0"/>
                <a:cs typeface="Times New Roman" pitchFamily="18" charset="0"/>
                <a:hlinkClick r:id="rId2"/>
              </a:rPr>
              <a:t>@</a:t>
            </a:r>
            <a:r>
              <a:rPr lang="en-US" sz="1800" b="1" u="sng" dirty="0" err="1" smtClean="0">
                <a:latin typeface="Times New Roman" pitchFamily="18" charset="0"/>
                <a:cs typeface="Times New Roman" pitchFamily="18" charset="0"/>
                <a:hlinkClick r:id="rId2"/>
              </a:rPr>
              <a:t>fgszn</a:t>
            </a:r>
            <a:r>
              <a:rPr lang="ru-RU" sz="1800" b="1" u="sng" dirty="0" smtClean="0">
                <a:latin typeface="Times New Roman" pitchFamily="18" charset="0"/>
                <a:cs typeface="Times New Roman" pitchFamily="18" charset="0"/>
                <a:hlinkClick r:id="rId2"/>
              </a:rPr>
              <a:t>.</a:t>
            </a:r>
            <a:r>
              <a:rPr lang="en-US" sz="1800" b="1" u="sng" dirty="0" err="1" smtClean="0">
                <a:latin typeface="Times New Roman" pitchFamily="18" charset="0"/>
                <a:cs typeface="Times New Roman" pitchFamily="18" charset="0"/>
                <a:hlinkClick r:id="rId2"/>
              </a:rPr>
              <a:t>irtel</a:t>
            </a:r>
            <a:r>
              <a:rPr lang="ru-RU" sz="1800" b="1" u="sng" dirty="0" smtClean="0">
                <a:latin typeface="Times New Roman" pitchFamily="18" charset="0"/>
                <a:cs typeface="Times New Roman" pitchFamily="18" charset="0"/>
                <a:hlinkClick r:id="rId2"/>
              </a:rPr>
              <a:t>.</a:t>
            </a:r>
            <a:r>
              <a:rPr lang="en-US" sz="1800" b="1" u="sng" dirty="0" err="1" smtClean="0">
                <a:latin typeface="Times New Roman" pitchFamily="18" charset="0"/>
                <a:cs typeface="Times New Roman" pitchFamily="18" charset="0"/>
                <a:hlinkClick r:id="rId2"/>
              </a:rPr>
              <a:t>ru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виде сканированных копий с обязательным приложением всех электронных версий в формате </a:t>
            </a:r>
            <a:r>
              <a:rPr lang="en-US" sz="1800" dirty="0">
                <a:latin typeface="Times New Roman" pitchFamily="18" charset="0"/>
                <a:cs typeface="Times New Roman" pitchFamily="18" charset="0"/>
              </a:rPr>
              <a:t>Excel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. 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  <a:p>
            <a:pPr algn="just">
              <a:buNone/>
            </a:pPr>
            <a:endParaRPr lang="ru-RU" sz="1800" dirty="0">
              <a:latin typeface="Times New Roman" pitchFamily="18" charset="0"/>
              <a:cs typeface="Times New Roman" pitchFamily="18" charset="0"/>
            </a:endParaRPr>
          </a:p>
          <a:p>
            <a:pPr algn="just">
              <a:buNone/>
            </a:pP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     Необходимо заполнять все приложения отчета, даже если за отчетный период не было изменений или отсутствуют данные (нет льгот сверх норм, не было невыполнения коллективных договоров и т.д.). В случае отсутствия данных в приложениях проставлять прочерки. </a:t>
            </a:r>
          </a:p>
          <a:p>
            <a:pPr lvl="0" algn="just">
              <a:buNone/>
            </a:pPr>
            <a:r>
              <a:rPr lang="ru-RU" sz="18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</a:t>
            </a:r>
          </a:p>
          <a:p>
            <a:pPr lvl="0" algn="just">
              <a:buNone/>
            </a:pPr>
            <a:r>
              <a:rPr lang="ru-RU" sz="18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Обратите внимание на корректное заполнение всех граф в выписке из реестра </a:t>
            </a:r>
            <a:r>
              <a:rPr lang="ru-RU" sz="1800" u="sng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действующих </a:t>
            </a:r>
            <a:r>
              <a:rPr lang="ru-RU" sz="18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коллективных договоров.</a:t>
            </a:r>
          </a:p>
          <a:p>
            <a:pPr lvl="0" algn="just">
              <a:buNone/>
            </a:pPr>
            <a:endParaRPr lang="ru-RU" sz="18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lvl="0" algn="just">
              <a:buNone/>
            </a:pPr>
            <a:r>
              <a:rPr lang="ru-RU" sz="18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</a:t>
            </a:r>
            <a:r>
              <a:rPr lang="ru-RU" sz="18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Формы отчета изменять </a:t>
            </a:r>
            <a:r>
              <a:rPr lang="ru-RU" sz="18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нельзя!</a:t>
            </a:r>
            <a:endParaRPr lang="ru-RU" sz="1800" b="1" dirty="0">
              <a:latin typeface="Times New Roman" pitchFamily="18" charset="0"/>
              <a:cs typeface="Times New Roman" pitchFamily="18" charset="0"/>
            </a:endParaRPr>
          </a:p>
          <a:p>
            <a:pPr algn="just">
              <a:buNone/>
            </a:pPr>
            <a:endParaRPr lang="ru-RU" sz="1800" dirty="0">
              <a:latin typeface="Times New Roman" pitchFamily="18" charset="0"/>
              <a:cs typeface="Times New Roman" pitchFamily="18" charset="0"/>
            </a:endParaRPr>
          </a:p>
          <a:p>
            <a:endParaRPr lang="ru-RU" sz="1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2DCDEC-0CB3-4D77-A1B1-E1E47F3E031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4" y="230190"/>
            <a:ext cx="8618537" cy="1114324"/>
          </a:xfrm>
        </p:spPr>
        <p:txBody>
          <a:bodyPr/>
          <a:lstStyle/>
          <a:p>
            <a:pPr algn="r"/>
            <a:r>
              <a:rPr lang="ru-RU" sz="16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ложение 10 (1) </a:t>
            </a:r>
            <a:br>
              <a:rPr lang="ru-RU" sz="16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 Методическим рекомендациям по</a:t>
            </a:r>
            <a:b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ению органами местного</a:t>
            </a:r>
            <a:b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амоуправления муниципальных образований</a:t>
            </a:r>
            <a:b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ркутской области отдельных областных</a:t>
            </a:r>
            <a:b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сударственных полномочий в сфере труда</a:t>
            </a:r>
            <a:b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/>
              <a:t/>
            </a:r>
            <a:br>
              <a:rPr lang="ru-RU" sz="1600" dirty="0" smtClean="0"/>
            </a:br>
            <a:endParaRPr lang="ru-RU" sz="1600" b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2DCDEC-0CB3-4D77-A1B1-E1E47F3E031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OS-ROS005-200600608-SS1wm-r_c</a:t>
            </a:r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168351" y="1344515"/>
            <a:ext cx="705678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ведения о количестве предоставленных государственных услуг</a:t>
            </a:r>
          </a:p>
          <a:p>
            <a:pPr algn="ctr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уведомительной регистрации коллективных договоров,</a:t>
            </a:r>
          </a:p>
          <a:p>
            <a:pPr algn="ctr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зменений (дополнений) в коллективные договоры</a:t>
            </a:r>
          </a:p>
          <a:p>
            <a:pPr algn="ctr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 __________ 20___ года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376263" y="2784673"/>
            <a:ext cx="8208912" cy="288032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376261" y="2784672"/>
          <a:ext cx="8208913" cy="2880320"/>
        </p:xfrm>
        <a:graphic>
          <a:graphicData uri="http://schemas.openxmlformats.org/drawingml/2006/table">
            <a:tbl>
              <a:tblPr/>
              <a:tblGrid>
                <a:gridCol w="1642095"/>
                <a:gridCol w="1772806"/>
                <a:gridCol w="1664794"/>
                <a:gridCol w="1664794"/>
                <a:gridCol w="1464424"/>
              </a:tblGrid>
              <a:tr h="489933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№ </a:t>
                      </a:r>
                      <a:r>
                        <a:rPr lang="ru-RU" sz="1400" dirty="0" err="1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</a:t>
                      </a:r>
                      <a:r>
                        <a:rPr lang="ru-RU" sz="14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/</a:t>
                      </a:r>
                      <a:r>
                        <a:rPr lang="ru-RU" sz="1400" dirty="0" err="1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</a:t>
                      </a:r>
                      <a:endParaRPr lang="ru-RU" sz="14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35317" marR="35317" marT="58102" marB="5810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Количество оказанных государственных услуг за отчетный период, всего (ед.)</a:t>
                      </a:r>
                    </a:p>
                  </a:txBody>
                  <a:tcPr marL="35317" marR="35317" marT="58102" marB="5810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 том числе</a:t>
                      </a:r>
                    </a:p>
                  </a:txBody>
                  <a:tcPr marL="35317" marR="35317" marT="58102" marB="5810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сего оказано государственных услуг с начала года</a:t>
                      </a:r>
                    </a:p>
                  </a:txBody>
                  <a:tcPr marL="35317" marR="35317" marT="58102" marB="5810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045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о уведомительной регистрации коллективных договоров</a:t>
                      </a:r>
                    </a:p>
                  </a:txBody>
                  <a:tcPr marL="35317" marR="35317" marT="58102" marB="5810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о уведомительной регистрации изменений (дополнений) в коллективные договоры</a:t>
                      </a:r>
                    </a:p>
                  </a:txBody>
                  <a:tcPr marL="35317" marR="35317" marT="58102" marB="5810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8993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>
                        <a:latin typeface="Arial"/>
                        <a:ea typeface="Times New Roman"/>
                      </a:endParaRPr>
                    </a:p>
                  </a:txBody>
                  <a:tcPr marL="35317" marR="35317" marT="58102" marB="581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>
                        <a:latin typeface="Arial"/>
                        <a:ea typeface="Times New Roman"/>
                      </a:endParaRPr>
                    </a:p>
                  </a:txBody>
                  <a:tcPr marL="35317" marR="35317" marT="58102" marB="581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>
                        <a:latin typeface="Arial"/>
                        <a:ea typeface="Times New Roman"/>
                      </a:endParaRPr>
                    </a:p>
                  </a:txBody>
                  <a:tcPr marL="35317" marR="35317" marT="58102" marB="581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>
                        <a:latin typeface="Arial"/>
                        <a:ea typeface="Times New Roman"/>
                      </a:endParaRPr>
                    </a:p>
                  </a:txBody>
                  <a:tcPr marL="35317" marR="35317" marT="58102" marB="581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Arial"/>
                        <a:ea typeface="Times New Roman"/>
                      </a:endParaRPr>
                    </a:p>
                  </a:txBody>
                  <a:tcPr marL="35317" marR="35317" marT="58102" marB="5810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376261" y="5838343"/>
            <a:ext cx="70567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2">
                    <a:lumMod val="50000"/>
                  </a:schemeClr>
                </a:solidFill>
              </a:rPr>
              <a:t>СРОК: ежемесячно до 3 числа месяца, следующего за отчетным.</a:t>
            </a:r>
          </a:p>
          <a:p>
            <a:r>
              <a:rPr lang="ru-RU" sz="1400" smtClean="0">
                <a:solidFill>
                  <a:schemeClr val="accent2">
                    <a:lumMod val="50000"/>
                  </a:schemeClr>
                </a:solidFill>
              </a:rPr>
              <a:t>Желательно располагать </a:t>
            </a:r>
            <a:r>
              <a:rPr lang="ru-RU" sz="1400" dirty="0" smtClean="0">
                <a:solidFill>
                  <a:schemeClr val="accent2">
                    <a:lumMod val="50000"/>
                  </a:schemeClr>
                </a:solidFill>
              </a:rPr>
              <a:t>на 1 листе!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946E4D-7579-49B9-A389-94D90CE46AC6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239970" y="3191468"/>
            <a:ext cx="4479925" cy="830997"/>
          </a:xfrm>
          <a:prstGeom prst="rect">
            <a:avLst/>
          </a:prstGeom>
        </p:spPr>
        <p:txBody>
          <a:bodyPr lIns="91381" tIns="45691" rIns="91381" bIns="45691">
            <a:spAutoFit/>
          </a:bodyPr>
          <a:lstStyle/>
          <a:p>
            <a:pPr algn="ctr"/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пасибо за внимание </a:t>
            </a:r>
          </a:p>
          <a:p>
            <a:endParaRPr lang="ru-RU" sz="2400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4478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,&quot;&gt;,&lt;/m_chDecimalSymbol&gt;&lt;m_nGroupingDigits val=&quot;3&quot;/&gt;&lt;m_chGroupingSymbol val=&quot;.&quot;&gt;.&lt;/m_chGroupingSymbol&gt;&lt;/m_precDefault&gt;&lt;/CDefaultPrec&gt;&lt;/root&gt;"/>
  <p:tag name="THINKCELLUNDODONOTDELETE" val="72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heme/theme1.xml><?xml version="1.0" encoding="utf-8"?>
<a:theme xmlns:a="http://schemas.openxmlformats.org/drawingml/2006/main" name="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644</TotalTime>
  <Words>380</Words>
  <Application>Microsoft Office PowerPoint</Application>
  <PresentationFormat>Произвольный</PresentationFormat>
  <Paragraphs>71</Paragraphs>
  <Slides>8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8</vt:i4>
      </vt:variant>
    </vt:vector>
  </HeadingPairs>
  <TitlesOfParts>
    <vt:vector size="9" baseType="lpstr">
      <vt:lpstr>Universal Template_RU</vt:lpstr>
      <vt:lpstr>Слайд 0</vt:lpstr>
      <vt:lpstr>Слайд 1</vt:lpstr>
      <vt:lpstr>Слайд 2</vt:lpstr>
      <vt:lpstr>Слайд 3</vt:lpstr>
      <vt:lpstr>Слайд 4</vt:lpstr>
      <vt:lpstr>Требования по порядку предоставления отчетности в министерство:</vt:lpstr>
      <vt:lpstr>Приложение 10 (1)  к Методическим рекомендациям по осуществлению органами местного самоуправления муниципальных образований Иркутской области отдельных областных государственных полномочий в сфере труда  </vt:lpstr>
      <vt:lpstr>Слайд 7</vt:lpstr>
    </vt:vector>
  </TitlesOfParts>
  <Company>Corporat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</dc:title>
  <dc:creator>Corporate</dc:creator>
  <cp:keywords>Message Universal Template A4</cp:keywords>
  <dc:description>Version 1.1</dc:description>
  <cp:lastModifiedBy>n.tsvetkun</cp:lastModifiedBy>
  <cp:revision>4586</cp:revision>
  <cp:lastPrinted>2006-06-08T13:53:29Z</cp:lastPrinted>
  <dcterms:created xsi:type="dcterms:W3CDTF">2006-03-07T14:01:06Z</dcterms:created>
  <dcterms:modified xsi:type="dcterms:W3CDTF">2022-11-23T07:39:48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>Документ для ИК</vt:lpwstr>
  </property>
  <property fmtid="{D5CDD505-2E9C-101B-9397-08002B2CF9AE}" pid="6" name="Delivery Date">
    <vt:lpwstr>Москва, 13 июня 2006 г.</vt:lpwstr>
  </property>
  <property fmtid="{D5CDD505-2E9C-101B-9397-08002B2CF9AE}" pid="7" name="Title">
    <vt:lpwstr>Название</vt:lpwstr>
  </property>
  <property fmtid="{D5CDD505-2E9C-101B-9397-08002B2CF9AE}" pid="8" name="Final">
    <vt:bool>true</vt:bool>
  </property>
  <property fmtid="{D5CDD505-2E9C-101B-9397-08002B2CF9AE}" pid="9" name="DocID">
    <vt:lpwstr>MOS-ROS005-200600608-SS1wm-r_c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